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heme/theme2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heme/theme3.xml" ContentType="application/vnd.openxmlformats-officedocument.them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11"/>
  </p:notesMasterIdLst>
  <p:handoutMasterIdLst>
    <p:handoutMasterId r:id="rId12"/>
  </p:handoutMasterIdLst>
  <p:sldIdLst>
    <p:sldId id="2076136845" r:id="rId6"/>
    <p:sldId id="435" r:id="rId7"/>
    <p:sldId id="2076136846" r:id="rId8"/>
    <p:sldId id="438" r:id="rId9"/>
    <p:sldId id="437" r:id="rId10"/>
  </p:sldIdLst>
  <p:sldSz cx="12192000" cy="6858000"/>
  <p:notesSz cx="7099300" cy="10234613"/>
  <p:custDataLst>
    <p:tags r:id="rId1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96" autoAdjust="0"/>
  </p:normalViewPr>
  <p:slideViewPr>
    <p:cSldViewPr snapToObjects="1" showGuides="1">
      <p:cViewPr varScale="1">
        <p:scale>
          <a:sx n="68" d="100"/>
          <a:sy n="68" d="100"/>
        </p:scale>
        <p:origin x="616" y="48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image" Target="../media/image4.png"/><Relationship Id="rId2" Type="http://schemas.openxmlformats.org/officeDocument/2006/relationships/tags" Target="../tags/tag149.xml"/><Relationship Id="rId1" Type="http://schemas.openxmlformats.org/officeDocument/2006/relationships/theme" Target="../theme/theme3.x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5" Type="http://schemas.openxmlformats.org/officeDocument/2006/relationships/tags" Target="../tags/tag152.xml"/><Relationship Id="rId10" Type="http://schemas.openxmlformats.org/officeDocument/2006/relationships/tags" Target="../tags/tag157.xml"/><Relationship Id="rId4" Type="http://schemas.openxmlformats.org/officeDocument/2006/relationships/tags" Target="../tags/tag151.xml"/><Relationship Id="rId9" Type="http://schemas.openxmlformats.org/officeDocument/2006/relationships/tags" Target="../tags/tag15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Owner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: 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rem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 Doc ID: 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rem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 Vers.: 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rem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]</a:t>
            </a:r>
          </a:p>
        </p:txBody>
      </p:sp>
      <p:sp>
        <p:nvSpPr>
          <p:cNvPr id="3" name="empower_proprietary_placeholder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</a:t>
            </a:r>
            <a:r>
              <a:rPr lang="de-DE" sz="800" b="1" kern="0" dirty="0" err="1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trictly</a:t>
            </a:r>
            <a:r>
              <a:rPr lang="de-DE" sz="800" b="1" kern="0" dirty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de-DE" sz="800" b="1" kern="0" dirty="0" err="1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nfidential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10-20</a:t>
            </a: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image" Target="../media/image4.png"/><Relationship Id="rId2" Type="http://schemas.openxmlformats.org/officeDocument/2006/relationships/tags" Target="../tags/tag139.xml"/><Relationship Id="rId1" Type="http://schemas.openxmlformats.org/officeDocument/2006/relationships/theme" Target="../theme/theme2.x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0" Type="http://schemas.openxmlformats.org/officeDocument/2006/relationships/tags" Target="../tags/tag147.xml"/><Relationship Id="rId4" Type="http://schemas.openxmlformats.org/officeDocument/2006/relationships/tags" Target="../tags/tag141.xml"/><Relationship Id="rId9" Type="http://schemas.openxmlformats.org/officeDocument/2006/relationships/tags" Target="../tags/tag14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Owner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: 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rem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 Doc ID: 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rem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 Vers.: 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rem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]</a:t>
            </a:r>
          </a:p>
        </p:txBody>
      </p:sp>
      <p:sp>
        <p:nvSpPr>
          <p:cNvPr id="3" name="empower_proprietary_placeholder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</a:t>
            </a:r>
            <a:r>
              <a:rPr lang="de-DE" sz="800" b="1" kern="0" dirty="0" err="1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</p:txBody>
      </p:sp>
      <p:sp>
        <p:nvSpPr>
          <p:cNvPr id="6" name="empower_classification_attention_placeholder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trictly</a:t>
            </a:r>
            <a:r>
              <a:rPr lang="de-DE" sz="800" b="1" kern="0" dirty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de-DE" sz="800" b="1" kern="0" dirty="0" err="1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nfidential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10-20</a:t>
            </a: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sz="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sz="10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86547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81549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61380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66459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sz="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sz="10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4629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9.xml"/><Relationship Id="rId9" Type="http://schemas.openxmlformats.org/officeDocument/2006/relationships/tags" Target="../tags/tag8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8.xml"/><Relationship Id="rId9" Type="http://schemas.openxmlformats.org/officeDocument/2006/relationships/tags" Target="../tags/tag9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5" Type="http://schemas.openxmlformats.org/officeDocument/2006/relationships/tags" Target="../tags/tag11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5.xml"/><Relationship Id="rId9" Type="http://schemas.openxmlformats.org/officeDocument/2006/relationships/tags" Target="../tags/tag120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4.xml"/><Relationship Id="rId9" Type="http://schemas.openxmlformats.org/officeDocument/2006/relationships/tags" Target="../tags/tag129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4" Type="http://schemas.openxmlformats.org/officeDocument/2006/relationships/tags" Target="../tags/tag133.xml"/><Relationship Id="rId9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jp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jp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3.xml"/><Relationship Id="rId9" Type="http://schemas.openxmlformats.org/officeDocument/2006/relationships/tags" Target="../tags/tag38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2.xml"/><Relationship Id="rId9" Type="http://schemas.openxmlformats.org/officeDocument/2006/relationships/tags" Target="../tags/tag4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1.xml"/><Relationship Id="rId9" Type="http://schemas.openxmlformats.org/officeDocument/2006/relationships/tags" Target="../tags/tag56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IFX_Presentation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B346A59-9889-4A74-811F-F8B2A7A50914}"/>
              </a:ext>
            </a:extLst>
          </p:cNvPr>
          <p:cNvSpPr>
            <a:spLocks/>
          </p:cNvSpPr>
          <p:nvPr userDrawn="1"/>
        </p:nvSpPr>
        <p:spPr bwMode="auto">
          <a:xfrm>
            <a:off x="0" y="71"/>
            <a:ext cx="12193200" cy="5157050"/>
          </a:xfrm>
          <a:custGeom>
            <a:avLst/>
            <a:gdLst>
              <a:gd name="connsiteX0" fmla="*/ 0 w 12193200"/>
              <a:gd name="connsiteY0" fmla="*/ 3366894 h 5157050"/>
              <a:gd name="connsiteX1" fmla="*/ 2568686 w 12193200"/>
              <a:gd name="connsiteY1" fmla="*/ 4457237 h 5157050"/>
              <a:gd name="connsiteX2" fmla="*/ 2562846 w 12193200"/>
              <a:gd name="connsiteY2" fmla="*/ 4486161 h 5157050"/>
              <a:gd name="connsiteX3" fmla="*/ 2638446 w 12193200"/>
              <a:gd name="connsiteY3" fmla="*/ 4561761 h 5157050"/>
              <a:gd name="connsiteX4" fmla="*/ 2647621 w 12193200"/>
              <a:gd name="connsiteY4" fmla="*/ 4559909 h 5157050"/>
              <a:gd name="connsiteX5" fmla="*/ 2722582 w 12193200"/>
              <a:gd name="connsiteY5" fmla="*/ 5033199 h 5157050"/>
              <a:gd name="connsiteX6" fmla="*/ 0 w 12193200"/>
              <a:gd name="connsiteY6" fmla="*/ 5157050 h 5157050"/>
              <a:gd name="connsiteX7" fmla="*/ 9696957 w 12193200"/>
              <a:gd name="connsiteY7" fmla="*/ 2861253 h 5157050"/>
              <a:gd name="connsiteX8" fmla="*/ 8379344 w 12193200"/>
              <a:gd name="connsiteY8" fmla="*/ 4775870 h 5157050"/>
              <a:gd name="connsiteX9" fmla="*/ 2735348 w 12193200"/>
              <a:gd name="connsiteY9" fmla="*/ 5032618 h 5157050"/>
              <a:gd name="connsiteX10" fmla="*/ 2660080 w 12193200"/>
              <a:gd name="connsiteY10" fmla="*/ 4557394 h 5157050"/>
              <a:gd name="connsiteX11" fmla="*/ 2667873 w 12193200"/>
              <a:gd name="connsiteY11" fmla="*/ 4555820 h 5157050"/>
              <a:gd name="connsiteX12" fmla="*/ 2714046 w 12193200"/>
              <a:gd name="connsiteY12" fmla="*/ 4486161 h 5157050"/>
              <a:gd name="connsiteX13" fmla="*/ 2711582 w 12193200"/>
              <a:gd name="connsiteY13" fmla="*/ 4473954 h 5157050"/>
              <a:gd name="connsiteX14" fmla="*/ 12193200 w 12193200"/>
              <a:gd name="connsiteY14" fmla="*/ 2284950 h 5157050"/>
              <a:gd name="connsiteX15" fmla="*/ 12193200 w 12193200"/>
              <a:gd name="connsiteY15" fmla="*/ 4602376 h 5157050"/>
              <a:gd name="connsiteX16" fmla="*/ 8395259 w 12193200"/>
              <a:gd name="connsiteY16" fmla="*/ 4775146 h 5157050"/>
              <a:gd name="connsiteX17" fmla="*/ 9715286 w 12193200"/>
              <a:gd name="connsiteY17" fmla="*/ 2857021 h 5157050"/>
              <a:gd name="connsiteX18" fmla="*/ 11681447 w 12193200"/>
              <a:gd name="connsiteY18" fmla="*/ 0 h 5157050"/>
              <a:gd name="connsiteX19" fmla="*/ 12193200 w 12193200"/>
              <a:gd name="connsiteY19" fmla="*/ 0 h 5157050"/>
              <a:gd name="connsiteX20" fmla="*/ 12193200 w 12193200"/>
              <a:gd name="connsiteY20" fmla="*/ 2271916 h 5157050"/>
              <a:gd name="connsiteX21" fmla="*/ 9725950 w 12193200"/>
              <a:gd name="connsiteY21" fmla="*/ 2841525 h 5157050"/>
              <a:gd name="connsiteX22" fmla="*/ 0 w 12193200"/>
              <a:gd name="connsiteY22" fmla="*/ 0 h 5157050"/>
              <a:gd name="connsiteX23" fmla="*/ 11666031 w 12193200"/>
              <a:gd name="connsiteY23" fmla="*/ 0 h 5157050"/>
              <a:gd name="connsiteX24" fmla="*/ 9707621 w 12193200"/>
              <a:gd name="connsiteY24" fmla="*/ 2845757 h 5157050"/>
              <a:gd name="connsiteX25" fmla="*/ 2709068 w 12193200"/>
              <a:gd name="connsiteY25" fmla="*/ 4461501 h 5157050"/>
              <a:gd name="connsiteX26" fmla="*/ 2708105 w 12193200"/>
              <a:gd name="connsiteY26" fmla="*/ 4456734 h 5157050"/>
              <a:gd name="connsiteX27" fmla="*/ 2638446 w 12193200"/>
              <a:gd name="connsiteY27" fmla="*/ 4410561 h 5157050"/>
              <a:gd name="connsiteX28" fmla="*/ 2584989 w 12193200"/>
              <a:gd name="connsiteY28" fmla="*/ 4432704 h 5157050"/>
              <a:gd name="connsiteX29" fmla="*/ 2575734 w 12193200"/>
              <a:gd name="connsiteY29" fmla="*/ 4446431 h 5157050"/>
              <a:gd name="connsiteX30" fmla="*/ 0 w 12193200"/>
              <a:gd name="connsiteY30" fmla="*/ 3353098 h 515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3200" h="5157050">
                <a:moveTo>
                  <a:pt x="0" y="3366894"/>
                </a:moveTo>
                <a:lnTo>
                  <a:pt x="2568686" y="4457237"/>
                </a:lnTo>
                <a:lnTo>
                  <a:pt x="2562846" y="4486161"/>
                </a:lnTo>
                <a:cubicBezTo>
                  <a:pt x="2562846" y="4527914"/>
                  <a:pt x="2596693" y="4561761"/>
                  <a:pt x="2638446" y="4561761"/>
                </a:cubicBezTo>
                <a:lnTo>
                  <a:pt x="2647621" y="4559909"/>
                </a:lnTo>
                <a:lnTo>
                  <a:pt x="2722582" y="5033199"/>
                </a:lnTo>
                <a:lnTo>
                  <a:pt x="0" y="5157050"/>
                </a:lnTo>
                <a:close/>
                <a:moveTo>
                  <a:pt x="9696957" y="2861253"/>
                </a:moveTo>
                <a:lnTo>
                  <a:pt x="8379344" y="4775870"/>
                </a:lnTo>
                <a:lnTo>
                  <a:pt x="2735348" y="5032618"/>
                </a:lnTo>
                <a:lnTo>
                  <a:pt x="2660080" y="4557394"/>
                </a:lnTo>
                <a:lnTo>
                  <a:pt x="2667873" y="4555820"/>
                </a:lnTo>
                <a:cubicBezTo>
                  <a:pt x="2695007" y="4544344"/>
                  <a:pt x="2714046" y="4517476"/>
                  <a:pt x="2714046" y="4486161"/>
                </a:cubicBezTo>
                <a:lnTo>
                  <a:pt x="2711582" y="4473954"/>
                </a:lnTo>
                <a:close/>
                <a:moveTo>
                  <a:pt x="12193200" y="2284950"/>
                </a:moveTo>
                <a:lnTo>
                  <a:pt x="12193200" y="4602376"/>
                </a:lnTo>
                <a:lnTo>
                  <a:pt x="8395259" y="4775146"/>
                </a:lnTo>
                <a:lnTo>
                  <a:pt x="9715286" y="2857021"/>
                </a:lnTo>
                <a:close/>
                <a:moveTo>
                  <a:pt x="11681447" y="0"/>
                </a:moveTo>
                <a:lnTo>
                  <a:pt x="12193200" y="0"/>
                </a:lnTo>
                <a:lnTo>
                  <a:pt x="12193200" y="2271916"/>
                </a:lnTo>
                <a:lnTo>
                  <a:pt x="9725950" y="2841525"/>
                </a:lnTo>
                <a:close/>
                <a:moveTo>
                  <a:pt x="0" y="0"/>
                </a:moveTo>
                <a:lnTo>
                  <a:pt x="11666031" y="0"/>
                </a:lnTo>
                <a:lnTo>
                  <a:pt x="9707621" y="2845757"/>
                </a:lnTo>
                <a:lnTo>
                  <a:pt x="2709068" y="4461501"/>
                </a:lnTo>
                <a:lnTo>
                  <a:pt x="2708105" y="4456734"/>
                </a:lnTo>
                <a:cubicBezTo>
                  <a:pt x="2696629" y="4429600"/>
                  <a:pt x="2669761" y="4410561"/>
                  <a:pt x="2638446" y="4410561"/>
                </a:cubicBezTo>
                <a:cubicBezTo>
                  <a:pt x="2617570" y="4410561"/>
                  <a:pt x="2598670" y="4419023"/>
                  <a:pt x="2584989" y="4432704"/>
                </a:cubicBezTo>
                <a:lnTo>
                  <a:pt x="2575734" y="4446431"/>
                </a:lnTo>
                <a:lnTo>
                  <a:pt x="0" y="3353098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4000" y="1846800"/>
            <a:ext cx="8280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774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1200" kern="0" baseline="0" noProof="0" dirty="0">
              <a:solidFill>
                <a:srgbClr val="E3003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 dirty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1200" kern="0" baseline="0" noProof="0" dirty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1200" kern="0" baseline="0" noProof="0" dirty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7" name="Logo">
            <a:extLst>
              <a:ext uri="{FF2B5EF4-FFF2-40B4-BE49-F238E27FC236}">
                <a16:creationId xmlns:a16="http://schemas.microsoft.com/office/drawing/2014/main" id="{442953E7-0661-4596-B845-3CAECE60C379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C766C59-49C3-4476-A96B-266E072BCA70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A172B81-6FC0-4237-BB10-33D4A26CF8E7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IFX_Title_and_Four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IFX_Row_and_Two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IFX_Row_Two_Columns_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IFX_Title_and_Three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IFX_Row_and_Three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IFX_Four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IFX_Row_and_Four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FX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FX_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FX_Final_Cla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pic>
        <p:nvPicPr>
          <p:cNvPr id="3" name="Logo - Claim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558552"/>
            <a:ext cx="12192000" cy="685801"/>
          </a:xfrm>
          <a:prstGeom prst="rect">
            <a:avLst/>
          </a:prstGeom>
        </p:spPr>
      </p:pic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811525" y="1376772"/>
            <a:ext cx="8568952" cy="4176464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F214AAF-1E9D-4FD3-8516-DCD8CEDA1EA1}"/>
              </a:ext>
            </a:extLst>
          </p:cNvPr>
          <p:cNvSpPr/>
          <p:nvPr/>
        </p:nvSpPr>
        <p:spPr>
          <a:xfrm>
            <a:off x="4444793" y="1933900"/>
            <a:ext cx="3429317" cy="1125638"/>
          </a:xfrm>
          <a:custGeom>
            <a:avLst/>
            <a:gdLst>
              <a:gd name="connsiteX0" fmla="*/ 2720290 w 3429317"/>
              <a:gd name="connsiteY0" fmla="*/ 1125639 h 1125638"/>
              <a:gd name="connsiteX1" fmla="*/ 2937850 w 3429317"/>
              <a:gd name="connsiteY1" fmla="*/ 788574 h 1125638"/>
              <a:gd name="connsiteX2" fmla="*/ 2720290 w 3429317"/>
              <a:gd name="connsiteY2" fmla="*/ 459348 h 1125638"/>
              <a:gd name="connsiteX3" fmla="*/ 2505859 w 3429317"/>
              <a:gd name="connsiteY3" fmla="*/ 791710 h 1125638"/>
              <a:gd name="connsiteX4" fmla="*/ 2720290 w 3429317"/>
              <a:gd name="connsiteY4" fmla="*/ 1125639 h 1125638"/>
              <a:gd name="connsiteX5" fmla="*/ 2638900 w 3429317"/>
              <a:gd name="connsiteY5" fmla="*/ 787007 h 1125638"/>
              <a:gd name="connsiteX6" fmla="*/ 2720290 w 3429317"/>
              <a:gd name="connsiteY6" fmla="*/ 572226 h 1125638"/>
              <a:gd name="connsiteX7" fmla="*/ 2804810 w 3429317"/>
              <a:gd name="connsiteY7" fmla="*/ 790142 h 1125638"/>
              <a:gd name="connsiteX8" fmla="*/ 2723420 w 3429317"/>
              <a:gd name="connsiteY8" fmla="*/ 1015897 h 1125638"/>
              <a:gd name="connsiteX9" fmla="*/ 2638900 w 3429317"/>
              <a:gd name="connsiteY9" fmla="*/ 787007 h 1125638"/>
              <a:gd name="connsiteX10" fmla="*/ 2238213 w 3429317"/>
              <a:gd name="connsiteY10" fmla="*/ 1125639 h 1125638"/>
              <a:gd name="connsiteX11" fmla="*/ 2418209 w 3429317"/>
              <a:gd name="connsiteY11" fmla="*/ 1040981 h 1125638"/>
              <a:gd name="connsiteX12" fmla="*/ 2369688 w 3429317"/>
              <a:gd name="connsiteY12" fmla="*/ 950052 h 1125638"/>
              <a:gd name="connsiteX13" fmla="*/ 2249169 w 3429317"/>
              <a:gd name="connsiteY13" fmla="*/ 1012761 h 1125638"/>
              <a:gd name="connsiteX14" fmla="*/ 2161519 w 3429317"/>
              <a:gd name="connsiteY14" fmla="*/ 953187 h 1125638"/>
              <a:gd name="connsiteX15" fmla="*/ 2142737 w 3429317"/>
              <a:gd name="connsiteY15" fmla="*/ 841877 h 1125638"/>
              <a:gd name="connsiteX16" fmla="*/ 2142737 w 3429317"/>
              <a:gd name="connsiteY16" fmla="*/ 829335 h 1125638"/>
              <a:gd name="connsiteX17" fmla="*/ 2424470 w 3429317"/>
              <a:gd name="connsiteY17" fmla="*/ 829335 h 1125638"/>
              <a:gd name="connsiteX18" fmla="*/ 2424470 w 3429317"/>
              <a:gd name="connsiteY18" fmla="*/ 801116 h 1125638"/>
              <a:gd name="connsiteX19" fmla="*/ 2363428 w 3429317"/>
              <a:gd name="connsiteY19" fmla="*/ 526761 h 1125638"/>
              <a:gd name="connsiteX20" fmla="*/ 2222561 w 3429317"/>
              <a:gd name="connsiteY20" fmla="*/ 459348 h 1125638"/>
              <a:gd name="connsiteX21" fmla="*/ 2070738 w 3429317"/>
              <a:gd name="connsiteY21" fmla="*/ 542439 h 1125638"/>
              <a:gd name="connsiteX22" fmla="*/ 2012826 w 3429317"/>
              <a:gd name="connsiteY22" fmla="*/ 791710 h 1125638"/>
              <a:gd name="connsiteX23" fmla="*/ 2238213 w 3429317"/>
              <a:gd name="connsiteY23" fmla="*/ 1125639 h 1125638"/>
              <a:gd name="connsiteX24" fmla="*/ 2224126 w 3429317"/>
              <a:gd name="connsiteY24" fmla="*/ 562819 h 1125638"/>
              <a:gd name="connsiteX25" fmla="*/ 2286734 w 3429317"/>
              <a:gd name="connsiteY25" fmla="*/ 608284 h 1125638"/>
              <a:gd name="connsiteX26" fmla="*/ 2300820 w 3429317"/>
              <a:gd name="connsiteY26" fmla="*/ 725865 h 1125638"/>
              <a:gd name="connsiteX27" fmla="*/ 2142737 w 3429317"/>
              <a:gd name="connsiteY27" fmla="*/ 725865 h 1125638"/>
              <a:gd name="connsiteX28" fmla="*/ 2224126 w 3429317"/>
              <a:gd name="connsiteY28" fmla="*/ 562819 h 1125638"/>
              <a:gd name="connsiteX29" fmla="*/ 3041152 w 3429317"/>
              <a:gd name="connsiteY29" fmla="*/ 1109961 h 1125638"/>
              <a:gd name="connsiteX30" fmla="*/ 3163237 w 3429317"/>
              <a:gd name="connsiteY30" fmla="*/ 1109961 h 1125638"/>
              <a:gd name="connsiteX31" fmla="*/ 3163237 w 3429317"/>
              <a:gd name="connsiteY31" fmla="*/ 639639 h 1125638"/>
              <a:gd name="connsiteX32" fmla="*/ 3252452 w 3429317"/>
              <a:gd name="connsiteY32" fmla="*/ 583200 h 1125638"/>
              <a:gd name="connsiteX33" fmla="*/ 3293147 w 3429317"/>
              <a:gd name="connsiteY33" fmla="*/ 598877 h 1125638"/>
              <a:gd name="connsiteX34" fmla="*/ 3307233 w 3429317"/>
              <a:gd name="connsiteY34" fmla="*/ 681968 h 1125638"/>
              <a:gd name="connsiteX35" fmla="*/ 3307233 w 3429317"/>
              <a:gd name="connsiteY35" fmla="*/ 1109961 h 1125638"/>
              <a:gd name="connsiteX36" fmla="*/ 3429318 w 3429317"/>
              <a:gd name="connsiteY36" fmla="*/ 1109961 h 1125638"/>
              <a:gd name="connsiteX37" fmla="*/ 3429318 w 3429317"/>
              <a:gd name="connsiteY37" fmla="*/ 625529 h 1125638"/>
              <a:gd name="connsiteX38" fmla="*/ 3399579 w 3429317"/>
              <a:gd name="connsiteY38" fmla="*/ 509516 h 1125638"/>
              <a:gd name="connsiteX39" fmla="*/ 3299408 w 3429317"/>
              <a:gd name="connsiteY39" fmla="*/ 464052 h 1125638"/>
              <a:gd name="connsiteX40" fmla="*/ 3153845 w 3429317"/>
              <a:gd name="connsiteY40" fmla="*/ 534600 h 1125638"/>
              <a:gd name="connsiteX41" fmla="*/ 3138194 w 3429317"/>
              <a:gd name="connsiteY41" fmla="*/ 459348 h 1125638"/>
              <a:gd name="connsiteX42" fmla="*/ 3023935 w 3429317"/>
              <a:gd name="connsiteY42" fmla="*/ 489136 h 1125638"/>
              <a:gd name="connsiteX43" fmla="*/ 3039587 w 3429317"/>
              <a:gd name="connsiteY43" fmla="*/ 642774 h 1125638"/>
              <a:gd name="connsiteX44" fmla="*/ 3039587 w 3429317"/>
              <a:gd name="connsiteY44" fmla="*/ 1109961 h 1125638"/>
              <a:gd name="connsiteX45" fmla="*/ 1623096 w 3429317"/>
              <a:gd name="connsiteY45" fmla="*/ 534600 h 1125638"/>
              <a:gd name="connsiteX46" fmla="*/ 1607444 w 3429317"/>
              <a:gd name="connsiteY46" fmla="*/ 459348 h 1125638"/>
              <a:gd name="connsiteX47" fmla="*/ 1493185 w 3429317"/>
              <a:gd name="connsiteY47" fmla="*/ 489136 h 1125638"/>
              <a:gd name="connsiteX48" fmla="*/ 1508837 w 3429317"/>
              <a:gd name="connsiteY48" fmla="*/ 642774 h 1125638"/>
              <a:gd name="connsiteX49" fmla="*/ 1508837 w 3429317"/>
              <a:gd name="connsiteY49" fmla="*/ 1108394 h 1125638"/>
              <a:gd name="connsiteX50" fmla="*/ 1630922 w 3429317"/>
              <a:gd name="connsiteY50" fmla="*/ 1108394 h 1125638"/>
              <a:gd name="connsiteX51" fmla="*/ 1630922 w 3429317"/>
              <a:gd name="connsiteY51" fmla="*/ 638071 h 1125638"/>
              <a:gd name="connsiteX52" fmla="*/ 1720137 w 3429317"/>
              <a:gd name="connsiteY52" fmla="*/ 581632 h 1125638"/>
              <a:gd name="connsiteX53" fmla="*/ 1760832 w 3429317"/>
              <a:gd name="connsiteY53" fmla="*/ 597310 h 1125638"/>
              <a:gd name="connsiteX54" fmla="*/ 1774919 w 3429317"/>
              <a:gd name="connsiteY54" fmla="*/ 680400 h 1125638"/>
              <a:gd name="connsiteX55" fmla="*/ 1774919 w 3429317"/>
              <a:gd name="connsiteY55" fmla="*/ 1108394 h 1125638"/>
              <a:gd name="connsiteX56" fmla="*/ 1897003 w 3429317"/>
              <a:gd name="connsiteY56" fmla="*/ 1108394 h 1125638"/>
              <a:gd name="connsiteX57" fmla="*/ 1897003 w 3429317"/>
              <a:gd name="connsiteY57" fmla="*/ 625529 h 1125638"/>
              <a:gd name="connsiteX58" fmla="*/ 1867264 w 3429317"/>
              <a:gd name="connsiteY58" fmla="*/ 509516 h 1125638"/>
              <a:gd name="connsiteX59" fmla="*/ 1767093 w 3429317"/>
              <a:gd name="connsiteY59" fmla="*/ 464052 h 1125638"/>
              <a:gd name="connsiteX60" fmla="*/ 1623096 w 3429317"/>
              <a:gd name="connsiteY60" fmla="*/ 534600 h 1125638"/>
              <a:gd name="connsiteX61" fmla="*/ 129910 w 3429317"/>
              <a:gd name="connsiteY61" fmla="*/ 260245 h 1125638"/>
              <a:gd name="connsiteX62" fmla="*/ 259820 w 3429317"/>
              <a:gd name="connsiteY62" fmla="*/ 130123 h 1125638"/>
              <a:gd name="connsiteX63" fmla="*/ 129910 w 3429317"/>
              <a:gd name="connsiteY63" fmla="*/ 0 h 1125638"/>
              <a:gd name="connsiteX64" fmla="*/ 0 w 3429317"/>
              <a:gd name="connsiteY64" fmla="*/ 130123 h 1125638"/>
              <a:gd name="connsiteX65" fmla="*/ 129910 w 3429317"/>
              <a:gd name="connsiteY65" fmla="*/ 260245 h 1125638"/>
              <a:gd name="connsiteX66" fmla="*/ 729376 w 3429317"/>
              <a:gd name="connsiteY66" fmla="*/ 1109961 h 1125638"/>
              <a:gd name="connsiteX67" fmla="*/ 729376 w 3429317"/>
              <a:gd name="connsiteY67" fmla="*/ 625529 h 1125638"/>
              <a:gd name="connsiteX68" fmla="*/ 699637 w 3429317"/>
              <a:gd name="connsiteY68" fmla="*/ 509516 h 1125638"/>
              <a:gd name="connsiteX69" fmla="*/ 599465 w 3429317"/>
              <a:gd name="connsiteY69" fmla="*/ 464052 h 1125638"/>
              <a:gd name="connsiteX70" fmla="*/ 453903 w 3429317"/>
              <a:gd name="connsiteY70" fmla="*/ 534600 h 1125638"/>
              <a:gd name="connsiteX71" fmla="*/ 438251 w 3429317"/>
              <a:gd name="connsiteY71" fmla="*/ 459348 h 1125638"/>
              <a:gd name="connsiteX72" fmla="*/ 325558 w 3429317"/>
              <a:gd name="connsiteY72" fmla="*/ 490703 h 1125638"/>
              <a:gd name="connsiteX73" fmla="*/ 341210 w 3429317"/>
              <a:gd name="connsiteY73" fmla="*/ 644342 h 1125638"/>
              <a:gd name="connsiteX74" fmla="*/ 341210 w 3429317"/>
              <a:gd name="connsiteY74" fmla="*/ 1109961 h 1125638"/>
              <a:gd name="connsiteX75" fmla="*/ 463294 w 3429317"/>
              <a:gd name="connsiteY75" fmla="*/ 1109961 h 1125638"/>
              <a:gd name="connsiteX76" fmla="*/ 463294 w 3429317"/>
              <a:gd name="connsiteY76" fmla="*/ 639639 h 1125638"/>
              <a:gd name="connsiteX77" fmla="*/ 552510 w 3429317"/>
              <a:gd name="connsiteY77" fmla="*/ 583200 h 1125638"/>
              <a:gd name="connsiteX78" fmla="*/ 593205 w 3429317"/>
              <a:gd name="connsiteY78" fmla="*/ 598877 h 1125638"/>
              <a:gd name="connsiteX79" fmla="*/ 607291 w 3429317"/>
              <a:gd name="connsiteY79" fmla="*/ 681968 h 1125638"/>
              <a:gd name="connsiteX80" fmla="*/ 607291 w 3429317"/>
              <a:gd name="connsiteY80" fmla="*/ 1109961 h 1125638"/>
              <a:gd name="connsiteX81" fmla="*/ 729376 w 3429317"/>
              <a:gd name="connsiteY81" fmla="*/ 1109961 h 1125638"/>
              <a:gd name="connsiteX82" fmla="*/ 1291277 w 3429317"/>
              <a:gd name="connsiteY82" fmla="*/ 225755 h 1125638"/>
              <a:gd name="connsiteX83" fmla="*/ 1209887 w 3429317"/>
              <a:gd name="connsiteY83" fmla="*/ 307277 h 1125638"/>
              <a:gd name="connsiteX84" fmla="*/ 1289712 w 3429317"/>
              <a:gd name="connsiteY84" fmla="*/ 388800 h 1125638"/>
              <a:gd name="connsiteX85" fmla="*/ 1371101 w 3429317"/>
              <a:gd name="connsiteY85" fmla="*/ 307277 h 1125638"/>
              <a:gd name="connsiteX86" fmla="*/ 1291277 w 3429317"/>
              <a:gd name="connsiteY86" fmla="*/ 225755 h 1125638"/>
              <a:gd name="connsiteX87" fmla="*/ 71998 w 3429317"/>
              <a:gd name="connsiteY87" fmla="*/ 1109961 h 1125638"/>
              <a:gd name="connsiteX88" fmla="*/ 194083 w 3429317"/>
              <a:gd name="connsiteY88" fmla="*/ 1109961 h 1125638"/>
              <a:gd name="connsiteX89" fmla="*/ 194083 w 3429317"/>
              <a:gd name="connsiteY89" fmla="*/ 346471 h 1125638"/>
              <a:gd name="connsiteX90" fmla="*/ 71998 w 3429317"/>
              <a:gd name="connsiteY90" fmla="*/ 362148 h 1125638"/>
              <a:gd name="connsiteX91" fmla="*/ 71998 w 3429317"/>
              <a:gd name="connsiteY91" fmla="*/ 1109961 h 1125638"/>
              <a:gd name="connsiteX92" fmla="*/ 1069021 w 3429317"/>
              <a:gd name="connsiteY92" fmla="*/ 301006 h 1125638"/>
              <a:gd name="connsiteX93" fmla="*/ 1126932 w 3429317"/>
              <a:gd name="connsiteY93" fmla="*/ 319819 h 1125638"/>
              <a:gd name="connsiteX94" fmla="*/ 1161366 w 3429317"/>
              <a:gd name="connsiteY94" fmla="*/ 224187 h 1125638"/>
              <a:gd name="connsiteX95" fmla="*/ 1047108 w 3429317"/>
              <a:gd name="connsiteY95" fmla="*/ 189697 h 1125638"/>
              <a:gd name="connsiteX96" fmla="*/ 953197 w 3429317"/>
              <a:gd name="connsiteY96" fmla="*/ 221052 h 1125638"/>
              <a:gd name="connsiteX97" fmla="*/ 892155 w 3429317"/>
              <a:gd name="connsiteY97" fmla="*/ 390368 h 1125638"/>
              <a:gd name="connsiteX98" fmla="*/ 893720 w 3429317"/>
              <a:gd name="connsiteY98" fmla="*/ 473458 h 1125638"/>
              <a:gd name="connsiteX99" fmla="*/ 851460 w 3429317"/>
              <a:gd name="connsiteY99" fmla="*/ 473458 h 1125638"/>
              <a:gd name="connsiteX100" fmla="*/ 851460 w 3429317"/>
              <a:gd name="connsiteY100" fmla="*/ 581632 h 1125638"/>
              <a:gd name="connsiteX101" fmla="*/ 893720 w 3429317"/>
              <a:gd name="connsiteY101" fmla="*/ 581632 h 1125638"/>
              <a:gd name="connsiteX102" fmla="*/ 893720 w 3429317"/>
              <a:gd name="connsiteY102" fmla="*/ 1108394 h 1125638"/>
              <a:gd name="connsiteX103" fmla="*/ 1018935 w 3429317"/>
              <a:gd name="connsiteY103" fmla="*/ 1108394 h 1125638"/>
              <a:gd name="connsiteX104" fmla="*/ 1018935 w 3429317"/>
              <a:gd name="connsiteY104" fmla="*/ 583200 h 1125638"/>
              <a:gd name="connsiteX105" fmla="*/ 1111281 w 3429317"/>
              <a:gd name="connsiteY105" fmla="*/ 583200 h 1125638"/>
              <a:gd name="connsiteX106" fmla="*/ 1134758 w 3429317"/>
              <a:gd name="connsiteY106" fmla="*/ 475026 h 1125638"/>
              <a:gd name="connsiteX107" fmla="*/ 1020500 w 3429317"/>
              <a:gd name="connsiteY107" fmla="*/ 475026 h 1125638"/>
              <a:gd name="connsiteX108" fmla="*/ 1020500 w 3429317"/>
              <a:gd name="connsiteY108" fmla="*/ 377826 h 1125638"/>
              <a:gd name="connsiteX109" fmla="*/ 1069021 w 3429317"/>
              <a:gd name="connsiteY109" fmla="*/ 301006 h 1125638"/>
              <a:gd name="connsiteX110" fmla="*/ 1228669 w 3429317"/>
              <a:gd name="connsiteY110" fmla="*/ 1109961 h 1125638"/>
              <a:gd name="connsiteX111" fmla="*/ 1352319 w 3429317"/>
              <a:gd name="connsiteY111" fmla="*/ 1109961 h 1125638"/>
              <a:gd name="connsiteX112" fmla="*/ 1352319 w 3429317"/>
              <a:gd name="connsiteY112" fmla="*/ 464052 h 1125638"/>
              <a:gd name="connsiteX113" fmla="*/ 1228669 w 3429317"/>
              <a:gd name="connsiteY113" fmla="*/ 479729 h 1125638"/>
              <a:gd name="connsiteX114" fmla="*/ 1228669 w 3429317"/>
              <a:gd name="connsiteY114" fmla="*/ 1109961 h 112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3429317" h="1125638">
                <a:moveTo>
                  <a:pt x="2720290" y="1125639"/>
                </a:moveTo>
                <a:cubicBezTo>
                  <a:pt x="2886199" y="1125639"/>
                  <a:pt x="2937850" y="950052"/>
                  <a:pt x="2937850" y="788574"/>
                </a:cubicBezTo>
                <a:cubicBezTo>
                  <a:pt x="2937850" y="572226"/>
                  <a:pt x="2847069" y="459348"/>
                  <a:pt x="2720290" y="459348"/>
                </a:cubicBezTo>
                <a:cubicBezTo>
                  <a:pt x="2560641" y="459348"/>
                  <a:pt x="2504294" y="634936"/>
                  <a:pt x="2505859" y="791710"/>
                </a:cubicBezTo>
                <a:cubicBezTo>
                  <a:pt x="2507425" y="946916"/>
                  <a:pt x="2551250" y="1125639"/>
                  <a:pt x="2720290" y="1125639"/>
                </a:cubicBezTo>
                <a:close/>
                <a:moveTo>
                  <a:pt x="2638900" y="787007"/>
                </a:moveTo>
                <a:cubicBezTo>
                  <a:pt x="2638900" y="722729"/>
                  <a:pt x="2638900" y="572226"/>
                  <a:pt x="2720290" y="572226"/>
                </a:cubicBezTo>
                <a:cubicBezTo>
                  <a:pt x="2807940" y="572226"/>
                  <a:pt x="2804810" y="721161"/>
                  <a:pt x="2804810" y="790142"/>
                </a:cubicBezTo>
                <a:cubicBezTo>
                  <a:pt x="2804810" y="855987"/>
                  <a:pt x="2804810" y="1015897"/>
                  <a:pt x="2723420" y="1015897"/>
                </a:cubicBezTo>
                <a:cubicBezTo>
                  <a:pt x="2635770" y="1014329"/>
                  <a:pt x="2638900" y="854419"/>
                  <a:pt x="2638900" y="787007"/>
                </a:cubicBezTo>
                <a:close/>
                <a:moveTo>
                  <a:pt x="2238213" y="1125639"/>
                </a:moveTo>
                <a:cubicBezTo>
                  <a:pt x="2305516" y="1125639"/>
                  <a:pt x="2363428" y="1098987"/>
                  <a:pt x="2418209" y="1040981"/>
                </a:cubicBezTo>
                <a:lnTo>
                  <a:pt x="2369688" y="950052"/>
                </a:lnTo>
                <a:cubicBezTo>
                  <a:pt x="2332124" y="990813"/>
                  <a:pt x="2294560" y="1012761"/>
                  <a:pt x="2249169" y="1012761"/>
                </a:cubicBezTo>
                <a:cubicBezTo>
                  <a:pt x="2211605" y="1012761"/>
                  <a:pt x="2180301" y="990813"/>
                  <a:pt x="2161519" y="953187"/>
                </a:cubicBezTo>
                <a:cubicBezTo>
                  <a:pt x="2145867" y="920265"/>
                  <a:pt x="2142737" y="882639"/>
                  <a:pt x="2142737" y="841877"/>
                </a:cubicBezTo>
                <a:lnTo>
                  <a:pt x="2142737" y="829335"/>
                </a:lnTo>
                <a:lnTo>
                  <a:pt x="2424470" y="829335"/>
                </a:lnTo>
                <a:lnTo>
                  <a:pt x="2424470" y="801116"/>
                </a:lnTo>
                <a:cubicBezTo>
                  <a:pt x="2424470" y="661587"/>
                  <a:pt x="2407253" y="584768"/>
                  <a:pt x="2363428" y="526761"/>
                </a:cubicBezTo>
                <a:cubicBezTo>
                  <a:pt x="2330559" y="482865"/>
                  <a:pt x="2282038" y="459348"/>
                  <a:pt x="2222561" y="459348"/>
                </a:cubicBezTo>
                <a:cubicBezTo>
                  <a:pt x="2159954" y="459348"/>
                  <a:pt x="2108303" y="487568"/>
                  <a:pt x="2070738" y="542439"/>
                </a:cubicBezTo>
                <a:cubicBezTo>
                  <a:pt x="2030044" y="602013"/>
                  <a:pt x="2012826" y="681968"/>
                  <a:pt x="2012826" y="791710"/>
                </a:cubicBezTo>
                <a:cubicBezTo>
                  <a:pt x="2011261" y="1001787"/>
                  <a:pt x="2094216" y="1125639"/>
                  <a:pt x="2238213" y="1125639"/>
                </a:cubicBezTo>
                <a:close/>
                <a:moveTo>
                  <a:pt x="2224126" y="562819"/>
                </a:moveTo>
                <a:cubicBezTo>
                  <a:pt x="2255430" y="562819"/>
                  <a:pt x="2274212" y="580065"/>
                  <a:pt x="2286734" y="608284"/>
                </a:cubicBezTo>
                <a:cubicBezTo>
                  <a:pt x="2296125" y="633368"/>
                  <a:pt x="2300820" y="675697"/>
                  <a:pt x="2300820" y="725865"/>
                </a:cubicBezTo>
                <a:lnTo>
                  <a:pt x="2142737" y="725865"/>
                </a:lnTo>
                <a:cubicBezTo>
                  <a:pt x="2144302" y="614555"/>
                  <a:pt x="2167780" y="562819"/>
                  <a:pt x="2224126" y="562819"/>
                </a:cubicBezTo>
                <a:close/>
                <a:moveTo>
                  <a:pt x="3041152" y="1109961"/>
                </a:moveTo>
                <a:lnTo>
                  <a:pt x="3163237" y="1109961"/>
                </a:lnTo>
                <a:lnTo>
                  <a:pt x="3163237" y="639639"/>
                </a:lnTo>
                <a:cubicBezTo>
                  <a:pt x="3192975" y="603581"/>
                  <a:pt x="3227409" y="583200"/>
                  <a:pt x="3252452" y="583200"/>
                </a:cubicBezTo>
                <a:cubicBezTo>
                  <a:pt x="3268104" y="583200"/>
                  <a:pt x="3283756" y="586335"/>
                  <a:pt x="3293147" y="598877"/>
                </a:cubicBezTo>
                <a:cubicBezTo>
                  <a:pt x="3302538" y="612987"/>
                  <a:pt x="3307233" y="633368"/>
                  <a:pt x="3307233" y="681968"/>
                </a:cubicBezTo>
                <a:lnTo>
                  <a:pt x="3307233" y="1109961"/>
                </a:lnTo>
                <a:lnTo>
                  <a:pt x="3429318" y="1109961"/>
                </a:lnTo>
                <a:lnTo>
                  <a:pt x="3429318" y="625529"/>
                </a:lnTo>
                <a:cubicBezTo>
                  <a:pt x="3429318" y="583200"/>
                  <a:pt x="3424622" y="540871"/>
                  <a:pt x="3399579" y="509516"/>
                </a:cubicBezTo>
                <a:cubicBezTo>
                  <a:pt x="3377667" y="481297"/>
                  <a:pt x="3343233" y="464052"/>
                  <a:pt x="3299408" y="464052"/>
                </a:cubicBezTo>
                <a:cubicBezTo>
                  <a:pt x="3243061" y="464052"/>
                  <a:pt x="3185149" y="496974"/>
                  <a:pt x="3153845" y="534600"/>
                </a:cubicBezTo>
                <a:cubicBezTo>
                  <a:pt x="3152280" y="501677"/>
                  <a:pt x="3141324" y="470323"/>
                  <a:pt x="3138194" y="459348"/>
                </a:cubicBezTo>
                <a:lnTo>
                  <a:pt x="3023935" y="489136"/>
                </a:lnTo>
                <a:cubicBezTo>
                  <a:pt x="3030196" y="523626"/>
                  <a:pt x="3039587" y="565955"/>
                  <a:pt x="3039587" y="642774"/>
                </a:cubicBezTo>
                <a:lnTo>
                  <a:pt x="3039587" y="1109961"/>
                </a:lnTo>
                <a:close/>
                <a:moveTo>
                  <a:pt x="1623096" y="534600"/>
                </a:moveTo>
                <a:cubicBezTo>
                  <a:pt x="1621530" y="501677"/>
                  <a:pt x="1610574" y="470323"/>
                  <a:pt x="1607444" y="459348"/>
                </a:cubicBezTo>
                <a:lnTo>
                  <a:pt x="1493185" y="489136"/>
                </a:lnTo>
                <a:cubicBezTo>
                  <a:pt x="1499446" y="523626"/>
                  <a:pt x="1508837" y="565955"/>
                  <a:pt x="1508837" y="642774"/>
                </a:cubicBezTo>
                <a:lnTo>
                  <a:pt x="1508837" y="1108394"/>
                </a:lnTo>
                <a:lnTo>
                  <a:pt x="1630922" y="1108394"/>
                </a:lnTo>
                <a:lnTo>
                  <a:pt x="1630922" y="638071"/>
                </a:lnTo>
                <a:cubicBezTo>
                  <a:pt x="1660660" y="602013"/>
                  <a:pt x="1695094" y="581632"/>
                  <a:pt x="1720137" y="581632"/>
                </a:cubicBezTo>
                <a:cubicBezTo>
                  <a:pt x="1735789" y="581632"/>
                  <a:pt x="1751441" y="584768"/>
                  <a:pt x="1760832" y="597310"/>
                </a:cubicBezTo>
                <a:cubicBezTo>
                  <a:pt x="1770223" y="611419"/>
                  <a:pt x="1774919" y="631800"/>
                  <a:pt x="1774919" y="680400"/>
                </a:cubicBezTo>
                <a:lnTo>
                  <a:pt x="1774919" y="1108394"/>
                </a:lnTo>
                <a:lnTo>
                  <a:pt x="1897003" y="1108394"/>
                </a:lnTo>
                <a:lnTo>
                  <a:pt x="1897003" y="625529"/>
                </a:lnTo>
                <a:cubicBezTo>
                  <a:pt x="1897003" y="583200"/>
                  <a:pt x="1892307" y="540871"/>
                  <a:pt x="1867264" y="509516"/>
                </a:cubicBezTo>
                <a:cubicBezTo>
                  <a:pt x="1845352" y="481297"/>
                  <a:pt x="1810918" y="464052"/>
                  <a:pt x="1767093" y="464052"/>
                </a:cubicBezTo>
                <a:cubicBezTo>
                  <a:pt x="1712311" y="464052"/>
                  <a:pt x="1654399" y="496974"/>
                  <a:pt x="1623096" y="534600"/>
                </a:cubicBezTo>
                <a:close/>
                <a:moveTo>
                  <a:pt x="129910" y="260245"/>
                </a:moveTo>
                <a:cubicBezTo>
                  <a:pt x="201909" y="260245"/>
                  <a:pt x="259820" y="202239"/>
                  <a:pt x="259820" y="130123"/>
                </a:cubicBezTo>
                <a:cubicBezTo>
                  <a:pt x="259820" y="58006"/>
                  <a:pt x="201909" y="0"/>
                  <a:pt x="129910" y="0"/>
                </a:cubicBezTo>
                <a:cubicBezTo>
                  <a:pt x="57912" y="0"/>
                  <a:pt x="0" y="58006"/>
                  <a:pt x="0" y="130123"/>
                </a:cubicBezTo>
                <a:cubicBezTo>
                  <a:pt x="0" y="202239"/>
                  <a:pt x="57912" y="260245"/>
                  <a:pt x="129910" y="260245"/>
                </a:cubicBezTo>
                <a:close/>
                <a:moveTo>
                  <a:pt x="729376" y="1109961"/>
                </a:moveTo>
                <a:lnTo>
                  <a:pt x="729376" y="625529"/>
                </a:lnTo>
                <a:cubicBezTo>
                  <a:pt x="729376" y="583200"/>
                  <a:pt x="724680" y="540871"/>
                  <a:pt x="699637" y="509516"/>
                </a:cubicBezTo>
                <a:cubicBezTo>
                  <a:pt x="677725" y="481297"/>
                  <a:pt x="643291" y="464052"/>
                  <a:pt x="599465" y="464052"/>
                </a:cubicBezTo>
                <a:cubicBezTo>
                  <a:pt x="543119" y="464052"/>
                  <a:pt x="485207" y="496974"/>
                  <a:pt x="453903" y="534600"/>
                </a:cubicBezTo>
                <a:cubicBezTo>
                  <a:pt x="452338" y="501677"/>
                  <a:pt x="441382" y="470323"/>
                  <a:pt x="438251" y="459348"/>
                </a:cubicBezTo>
                <a:lnTo>
                  <a:pt x="325558" y="490703"/>
                </a:lnTo>
                <a:cubicBezTo>
                  <a:pt x="331819" y="525194"/>
                  <a:pt x="341210" y="567523"/>
                  <a:pt x="341210" y="644342"/>
                </a:cubicBezTo>
                <a:lnTo>
                  <a:pt x="341210" y="1109961"/>
                </a:lnTo>
                <a:lnTo>
                  <a:pt x="463294" y="1109961"/>
                </a:lnTo>
                <a:lnTo>
                  <a:pt x="463294" y="639639"/>
                </a:lnTo>
                <a:cubicBezTo>
                  <a:pt x="493033" y="603581"/>
                  <a:pt x="527467" y="583200"/>
                  <a:pt x="552510" y="583200"/>
                </a:cubicBezTo>
                <a:cubicBezTo>
                  <a:pt x="568162" y="583200"/>
                  <a:pt x="583814" y="586335"/>
                  <a:pt x="593205" y="598877"/>
                </a:cubicBezTo>
                <a:cubicBezTo>
                  <a:pt x="602596" y="612987"/>
                  <a:pt x="607291" y="633368"/>
                  <a:pt x="607291" y="681968"/>
                </a:cubicBezTo>
                <a:lnTo>
                  <a:pt x="607291" y="1109961"/>
                </a:lnTo>
                <a:lnTo>
                  <a:pt x="729376" y="1109961"/>
                </a:lnTo>
                <a:close/>
                <a:moveTo>
                  <a:pt x="1291277" y="225755"/>
                </a:moveTo>
                <a:cubicBezTo>
                  <a:pt x="1245886" y="225755"/>
                  <a:pt x="1209887" y="261813"/>
                  <a:pt x="1209887" y="307277"/>
                </a:cubicBezTo>
                <a:cubicBezTo>
                  <a:pt x="1209887" y="352742"/>
                  <a:pt x="1245886" y="388800"/>
                  <a:pt x="1289712" y="388800"/>
                </a:cubicBezTo>
                <a:cubicBezTo>
                  <a:pt x="1335102" y="388800"/>
                  <a:pt x="1371101" y="352742"/>
                  <a:pt x="1371101" y="307277"/>
                </a:cubicBezTo>
                <a:cubicBezTo>
                  <a:pt x="1371101" y="261813"/>
                  <a:pt x="1335102" y="225755"/>
                  <a:pt x="1291277" y="225755"/>
                </a:cubicBezTo>
                <a:close/>
                <a:moveTo>
                  <a:pt x="71998" y="1109961"/>
                </a:moveTo>
                <a:lnTo>
                  <a:pt x="194083" y="1109961"/>
                </a:lnTo>
                <a:lnTo>
                  <a:pt x="194083" y="346471"/>
                </a:lnTo>
                <a:lnTo>
                  <a:pt x="71998" y="362148"/>
                </a:lnTo>
                <a:lnTo>
                  <a:pt x="71998" y="1109961"/>
                </a:lnTo>
                <a:close/>
                <a:moveTo>
                  <a:pt x="1069021" y="301006"/>
                </a:moveTo>
                <a:cubicBezTo>
                  <a:pt x="1090933" y="301006"/>
                  <a:pt x="1112846" y="308845"/>
                  <a:pt x="1126932" y="319819"/>
                </a:cubicBezTo>
                <a:lnTo>
                  <a:pt x="1161366" y="224187"/>
                </a:lnTo>
                <a:cubicBezTo>
                  <a:pt x="1128498" y="200671"/>
                  <a:pt x="1092498" y="189697"/>
                  <a:pt x="1047108" y="189697"/>
                </a:cubicBezTo>
                <a:cubicBezTo>
                  <a:pt x="1015804" y="189697"/>
                  <a:pt x="982935" y="197535"/>
                  <a:pt x="953197" y="221052"/>
                </a:cubicBezTo>
                <a:cubicBezTo>
                  <a:pt x="923458" y="246135"/>
                  <a:pt x="892155" y="296303"/>
                  <a:pt x="892155" y="390368"/>
                </a:cubicBezTo>
                <a:cubicBezTo>
                  <a:pt x="892155" y="431129"/>
                  <a:pt x="893720" y="473458"/>
                  <a:pt x="893720" y="473458"/>
                </a:cubicBezTo>
                <a:lnTo>
                  <a:pt x="851460" y="473458"/>
                </a:lnTo>
                <a:lnTo>
                  <a:pt x="851460" y="581632"/>
                </a:lnTo>
                <a:lnTo>
                  <a:pt x="893720" y="581632"/>
                </a:lnTo>
                <a:lnTo>
                  <a:pt x="893720" y="1108394"/>
                </a:lnTo>
                <a:lnTo>
                  <a:pt x="1018935" y="1108394"/>
                </a:lnTo>
                <a:lnTo>
                  <a:pt x="1018935" y="583200"/>
                </a:lnTo>
                <a:lnTo>
                  <a:pt x="1111281" y="583200"/>
                </a:lnTo>
                <a:lnTo>
                  <a:pt x="1134758" y="475026"/>
                </a:lnTo>
                <a:lnTo>
                  <a:pt x="1020500" y="475026"/>
                </a:lnTo>
                <a:lnTo>
                  <a:pt x="1020500" y="377826"/>
                </a:lnTo>
                <a:cubicBezTo>
                  <a:pt x="1020500" y="330794"/>
                  <a:pt x="1039282" y="301006"/>
                  <a:pt x="1069021" y="301006"/>
                </a:cubicBezTo>
                <a:close/>
                <a:moveTo>
                  <a:pt x="1228669" y="1109961"/>
                </a:moveTo>
                <a:lnTo>
                  <a:pt x="1352319" y="1109961"/>
                </a:lnTo>
                <a:lnTo>
                  <a:pt x="1352319" y="464052"/>
                </a:lnTo>
                <a:lnTo>
                  <a:pt x="1228669" y="479729"/>
                </a:lnTo>
                <a:lnTo>
                  <a:pt x="1228669" y="1109961"/>
                </a:lnTo>
                <a:close/>
              </a:path>
            </a:pathLst>
          </a:custGeom>
          <a:solidFill>
            <a:srgbClr val="005DA9"/>
          </a:solidFill>
          <a:ln w="156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F60EEAB-08EF-4699-AAD1-3E74796DF911}"/>
              </a:ext>
            </a:extLst>
          </p:cNvPr>
          <p:cNvSpPr/>
          <p:nvPr/>
        </p:nvSpPr>
        <p:spPr>
          <a:xfrm>
            <a:off x="3859415" y="1750829"/>
            <a:ext cx="4435730" cy="1944213"/>
          </a:xfrm>
          <a:custGeom>
            <a:avLst/>
            <a:gdLst>
              <a:gd name="connsiteX0" fmla="*/ 3764267 w 4435730"/>
              <a:gd name="connsiteY0" fmla="*/ 1637936 h 1944213"/>
              <a:gd name="connsiteX1" fmla="*/ 2357167 w 4435730"/>
              <a:gd name="connsiteY1" fmla="*/ 1813523 h 1944213"/>
              <a:gd name="connsiteX2" fmla="*/ 248864 w 4435730"/>
              <a:gd name="connsiteY2" fmla="*/ 962240 h 1944213"/>
              <a:gd name="connsiteX3" fmla="*/ 608857 w 4435730"/>
              <a:gd name="connsiteY3" fmla="*/ 452723 h 1944213"/>
              <a:gd name="connsiteX4" fmla="*/ 538423 w 4435730"/>
              <a:gd name="connsiteY4" fmla="*/ 314762 h 1944213"/>
              <a:gd name="connsiteX5" fmla="*/ 0 w 4435730"/>
              <a:gd name="connsiteY5" fmla="*/ 976349 h 1944213"/>
              <a:gd name="connsiteX6" fmla="*/ 2369688 w 4435730"/>
              <a:gd name="connsiteY6" fmla="*/ 1943646 h 1944213"/>
              <a:gd name="connsiteX7" fmla="*/ 3646878 w 4435730"/>
              <a:gd name="connsiteY7" fmla="*/ 1744543 h 1944213"/>
              <a:gd name="connsiteX8" fmla="*/ 4435731 w 4435730"/>
              <a:gd name="connsiteY8" fmla="*/ 1302440 h 1944213"/>
              <a:gd name="connsiteX9" fmla="*/ 3764267 w 4435730"/>
              <a:gd name="connsiteY9" fmla="*/ 1637936 h 1944213"/>
              <a:gd name="connsiteX10" fmla="*/ 1136323 w 4435730"/>
              <a:gd name="connsiteY10" fmla="*/ 214427 h 1944213"/>
              <a:gd name="connsiteX11" fmla="*/ 1336667 w 4435730"/>
              <a:gd name="connsiteY11" fmla="*/ 150149 h 1944213"/>
              <a:gd name="connsiteX12" fmla="*/ 2371254 w 4435730"/>
              <a:gd name="connsiteY12" fmla="*/ 9052 h 1944213"/>
              <a:gd name="connsiteX13" fmla="*/ 1311624 w 4435730"/>
              <a:gd name="connsiteY13" fmla="*/ 65491 h 1944213"/>
              <a:gd name="connsiteX14" fmla="*/ 1097194 w 4435730"/>
              <a:gd name="connsiteY14" fmla="*/ 110956 h 1944213"/>
              <a:gd name="connsiteX15" fmla="*/ 1011109 w 4435730"/>
              <a:gd name="connsiteY15" fmla="*/ 134472 h 1944213"/>
              <a:gd name="connsiteX16" fmla="*/ 932850 w 4435730"/>
              <a:gd name="connsiteY16" fmla="*/ 156420 h 1944213"/>
              <a:gd name="connsiteX17" fmla="*/ 838939 w 4435730"/>
              <a:gd name="connsiteY17" fmla="*/ 187775 h 1944213"/>
              <a:gd name="connsiteX18" fmla="*/ 890590 w 4435730"/>
              <a:gd name="connsiteY18" fmla="*/ 306923 h 1944213"/>
              <a:gd name="connsiteX19" fmla="*/ 1136323 w 4435730"/>
              <a:gd name="connsiteY19" fmla="*/ 214427 h 1944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35730" h="1944213">
                <a:moveTo>
                  <a:pt x="3764267" y="1637936"/>
                </a:moveTo>
                <a:cubicBezTo>
                  <a:pt x="3351059" y="1760220"/>
                  <a:pt x="2848635" y="1813523"/>
                  <a:pt x="2357167" y="1813523"/>
                </a:cubicBezTo>
                <a:cubicBezTo>
                  <a:pt x="1109715" y="1813523"/>
                  <a:pt x="305211" y="1446672"/>
                  <a:pt x="248864" y="962240"/>
                </a:cubicBezTo>
                <a:cubicBezTo>
                  <a:pt x="228517" y="780381"/>
                  <a:pt x="370949" y="603227"/>
                  <a:pt x="608857" y="452723"/>
                </a:cubicBezTo>
                <a:cubicBezTo>
                  <a:pt x="566597" y="421369"/>
                  <a:pt x="539988" y="371201"/>
                  <a:pt x="538423" y="314762"/>
                </a:cubicBezTo>
                <a:cubicBezTo>
                  <a:pt x="194083" y="496620"/>
                  <a:pt x="0" y="734917"/>
                  <a:pt x="0" y="976349"/>
                </a:cubicBezTo>
                <a:cubicBezTo>
                  <a:pt x="0" y="1510949"/>
                  <a:pt x="953197" y="1962459"/>
                  <a:pt x="2369688" y="1943646"/>
                </a:cubicBezTo>
                <a:cubicBezTo>
                  <a:pt x="2862721" y="1937375"/>
                  <a:pt x="3274365" y="1866827"/>
                  <a:pt x="3646878" y="1744543"/>
                </a:cubicBezTo>
                <a:cubicBezTo>
                  <a:pt x="4089825" y="1600311"/>
                  <a:pt x="4368428" y="1393369"/>
                  <a:pt x="4435731" y="1302440"/>
                </a:cubicBezTo>
                <a:cubicBezTo>
                  <a:pt x="4355907" y="1374556"/>
                  <a:pt x="4166520" y="1518788"/>
                  <a:pt x="3764267" y="1637936"/>
                </a:cubicBezTo>
                <a:close/>
                <a:moveTo>
                  <a:pt x="1136323" y="214427"/>
                </a:moveTo>
                <a:cubicBezTo>
                  <a:pt x="1219278" y="186207"/>
                  <a:pt x="1336667" y="150149"/>
                  <a:pt x="1336667" y="150149"/>
                </a:cubicBezTo>
                <a:cubicBezTo>
                  <a:pt x="1666921" y="59220"/>
                  <a:pt x="2031609" y="5917"/>
                  <a:pt x="2371254" y="9052"/>
                </a:cubicBezTo>
                <a:cubicBezTo>
                  <a:pt x="1979958" y="-14464"/>
                  <a:pt x="1623096" y="9052"/>
                  <a:pt x="1311624" y="65491"/>
                </a:cubicBezTo>
                <a:cubicBezTo>
                  <a:pt x="1311624" y="65491"/>
                  <a:pt x="1208322" y="82736"/>
                  <a:pt x="1097194" y="110956"/>
                </a:cubicBezTo>
                <a:cubicBezTo>
                  <a:pt x="1097194" y="110956"/>
                  <a:pt x="1043978" y="125065"/>
                  <a:pt x="1011109" y="134472"/>
                </a:cubicBezTo>
                <a:cubicBezTo>
                  <a:pt x="978240" y="143878"/>
                  <a:pt x="932850" y="156420"/>
                  <a:pt x="932850" y="156420"/>
                </a:cubicBezTo>
                <a:cubicBezTo>
                  <a:pt x="901546" y="165827"/>
                  <a:pt x="870242" y="176801"/>
                  <a:pt x="838939" y="187775"/>
                </a:cubicBezTo>
                <a:cubicBezTo>
                  <a:pt x="870242" y="219130"/>
                  <a:pt x="889024" y="259891"/>
                  <a:pt x="890590" y="306923"/>
                </a:cubicBezTo>
                <a:cubicBezTo>
                  <a:pt x="945371" y="281840"/>
                  <a:pt x="1050238" y="244214"/>
                  <a:pt x="1136323" y="214427"/>
                </a:cubicBezTo>
                <a:close/>
              </a:path>
            </a:pathLst>
          </a:custGeom>
          <a:solidFill>
            <a:srgbClr val="E30034"/>
          </a:solidFill>
          <a:ln w="156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IFX_PresentationTitl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015D233-C9CC-4F11-A8E7-A76873C0D17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1"/>
            <a:ext cx="12193200" cy="5138663"/>
          </a:xfrm>
          <a:custGeom>
            <a:avLst/>
            <a:gdLst>
              <a:gd name="connsiteX0" fmla="*/ 0 w 12193200"/>
              <a:gd name="connsiteY0" fmla="*/ 3366965 h 5138663"/>
              <a:gd name="connsiteX1" fmla="*/ 2568673 w 12193200"/>
              <a:gd name="connsiteY1" fmla="*/ 4457302 h 5138663"/>
              <a:gd name="connsiteX2" fmla="*/ 2562846 w 12193200"/>
              <a:gd name="connsiteY2" fmla="*/ 4486161 h 5138663"/>
              <a:gd name="connsiteX3" fmla="*/ 2638446 w 12193200"/>
              <a:gd name="connsiteY3" fmla="*/ 4561761 h 5138663"/>
              <a:gd name="connsiteX4" fmla="*/ 2647610 w 12193200"/>
              <a:gd name="connsiteY4" fmla="*/ 4559911 h 5138663"/>
              <a:gd name="connsiteX5" fmla="*/ 2719581 w 12193200"/>
              <a:gd name="connsiteY5" fmla="*/ 5014319 h 5138663"/>
              <a:gd name="connsiteX6" fmla="*/ 0 w 12193200"/>
              <a:gd name="connsiteY6" fmla="*/ 5138663 h 5138663"/>
              <a:gd name="connsiteX7" fmla="*/ 9696955 w 12193200"/>
              <a:gd name="connsiteY7" fmla="*/ 2861324 h 5138663"/>
              <a:gd name="connsiteX8" fmla="*/ 8393835 w 12193200"/>
              <a:gd name="connsiteY8" fmla="*/ 4754883 h 5138663"/>
              <a:gd name="connsiteX9" fmla="*/ 2732347 w 12193200"/>
              <a:gd name="connsiteY9" fmla="*/ 5013736 h 5138663"/>
              <a:gd name="connsiteX10" fmla="*/ 2660069 w 12193200"/>
              <a:gd name="connsiteY10" fmla="*/ 4557396 h 5138663"/>
              <a:gd name="connsiteX11" fmla="*/ 2667873 w 12193200"/>
              <a:gd name="connsiteY11" fmla="*/ 4555820 h 5138663"/>
              <a:gd name="connsiteX12" fmla="*/ 2714046 w 12193200"/>
              <a:gd name="connsiteY12" fmla="*/ 4486161 h 5138663"/>
              <a:gd name="connsiteX13" fmla="*/ 2711595 w 12193200"/>
              <a:gd name="connsiteY13" fmla="*/ 4474021 h 5138663"/>
              <a:gd name="connsiteX14" fmla="*/ 12193200 w 12193200"/>
              <a:gd name="connsiteY14" fmla="*/ 2285021 h 5138663"/>
              <a:gd name="connsiteX15" fmla="*/ 12193200 w 12193200"/>
              <a:gd name="connsiteY15" fmla="*/ 4581170 h 5138663"/>
              <a:gd name="connsiteX16" fmla="*/ 8409753 w 12193200"/>
              <a:gd name="connsiteY16" fmla="*/ 4754155 h 5138663"/>
              <a:gd name="connsiteX17" fmla="*/ 9715284 w 12193200"/>
              <a:gd name="connsiteY17" fmla="*/ 2857093 h 5138663"/>
              <a:gd name="connsiteX18" fmla="*/ 11681495 w 12193200"/>
              <a:gd name="connsiteY18" fmla="*/ 0 h 5138663"/>
              <a:gd name="connsiteX19" fmla="*/ 12193200 w 12193200"/>
              <a:gd name="connsiteY19" fmla="*/ 0 h 5138663"/>
              <a:gd name="connsiteX20" fmla="*/ 12193200 w 12193200"/>
              <a:gd name="connsiteY20" fmla="*/ 2271987 h 5138663"/>
              <a:gd name="connsiteX21" fmla="*/ 9725948 w 12193200"/>
              <a:gd name="connsiteY21" fmla="*/ 2841597 h 5138663"/>
              <a:gd name="connsiteX22" fmla="*/ 0 w 12193200"/>
              <a:gd name="connsiteY22" fmla="*/ 0 h 5138663"/>
              <a:gd name="connsiteX23" fmla="*/ 11666079 w 12193200"/>
              <a:gd name="connsiteY23" fmla="*/ 0 h 5138663"/>
              <a:gd name="connsiteX24" fmla="*/ 9707619 w 12193200"/>
              <a:gd name="connsiteY24" fmla="*/ 2845829 h 5138663"/>
              <a:gd name="connsiteX25" fmla="*/ 2709081 w 12193200"/>
              <a:gd name="connsiteY25" fmla="*/ 4461568 h 5138663"/>
              <a:gd name="connsiteX26" fmla="*/ 2708105 w 12193200"/>
              <a:gd name="connsiteY26" fmla="*/ 4456734 h 5138663"/>
              <a:gd name="connsiteX27" fmla="*/ 2638446 w 12193200"/>
              <a:gd name="connsiteY27" fmla="*/ 4410561 h 5138663"/>
              <a:gd name="connsiteX28" fmla="*/ 2584989 w 12193200"/>
              <a:gd name="connsiteY28" fmla="*/ 4432704 h 5138663"/>
              <a:gd name="connsiteX29" fmla="*/ 2575696 w 12193200"/>
              <a:gd name="connsiteY29" fmla="*/ 4446487 h 5138663"/>
              <a:gd name="connsiteX30" fmla="*/ 0 w 12193200"/>
              <a:gd name="connsiteY30" fmla="*/ 3353169 h 5138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3200" h="5138663">
                <a:moveTo>
                  <a:pt x="0" y="3366965"/>
                </a:moveTo>
                <a:lnTo>
                  <a:pt x="2568673" y="4457302"/>
                </a:lnTo>
                <a:lnTo>
                  <a:pt x="2562846" y="4486161"/>
                </a:lnTo>
                <a:cubicBezTo>
                  <a:pt x="2562846" y="4527914"/>
                  <a:pt x="2596693" y="4561761"/>
                  <a:pt x="2638446" y="4561761"/>
                </a:cubicBezTo>
                <a:lnTo>
                  <a:pt x="2647610" y="4559911"/>
                </a:lnTo>
                <a:lnTo>
                  <a:pt x="2719581" y="5014319"/>
                </a:lnTo>
                <a:lnTo>
                  <a:pt x="0" y="5138663"/>
                </a:lnTo>
                <a:close/>
                <a:moveTo>
                  <a:pt x="9696955" y="2861324"/>
                </a:moveTo>
                <a:lnTo>
                  <a:pt x="8393835" y="4754883"/>
                </a:lnTo>
                <a:lnTo>
                  <a:pt x="2732347" y="5013736"/>
                </a:lnTo>
                <a:lnTo>
                  <a:pt x="2660069" y="4557396"/>
                </a:lnTo>
                <a:lnTo>
                  <a:pt x="2667873" y="4555820"/>
                </a:lnTo>
                <a:cubicBezTo>
                  <a:pt x="2695007" y="4544344"/>
                  <a:pt x="2714046" y="4517476"/>
                  <a:pt x="2714046" y="4486161"/>
                </a:cubicBezTo>
                <a:lnTo>
                  <a:pt x="2711595" y="4474021"/>
                </a:lnTo>
                <a:close/>
                <a:moveTo>
                  <a:pt x="12193200" y="2285021"/>
                </a:moveTo>
                <a:lnTo>
                  <a:pt x="12193200" y="4581170"/>
                </a:lnTo>
                <a:lnTo>
                  <a:pt x="8409753" y="4754155"/>
                </a:lnTo>
                <a:lnTo>
                  <a:pt x="9715284" y="2857093"/>
                </a:lnTo>
                <a:close/>
                <a:moveTo>
                  <a:pt x="11681495" y="0"/>
                </a:moveTo>
                <a:lnTo>
                  <a:pt x="12193200" y="0"/>
                </a:lnTo>
                <a:lnTo>
                  <a:pt x="12193200" y="2271987"/>
                </a:lnTo>
                <a:lnTo>
                  <a:pt x="9725948" y="2841597"/>
                </a:lnTo>
                <a:close/>
                <a:moveTo>
                  <a:pt x="0" y="0"/>
                </a:moveTo>
                <a:lnTo>
                  <a:pt x="11666079" y="0"/>
                </a:lnTo>
                <a:lnTo>
                  <a:pt x="9707619" y="2845829"/>
                </a:lnTo>
                <a:lnTo>
                  <a:pt x="2709081" y="4461568"/>
                </a:lnTo>
                <a:lnTo>
                  <a:pt x="2708105" y="4456734"/>
                </a:lnTo>
                <a:cubicBezTo>
                  <a:pt x="2696629" y="4429600"/>
                  <a:pt x="2669761" y="4410561"/>
                  <a:pt x="2638446" y="4410561"/>
                </a:cubicBezTo>
                <a:cubicBezTo>
                  <a:pt x="2617570" y="4410561"/>
                  <a:pt x="2598670" y="4419023"/>
                  <a:pt x="2584989" y="4432704"/>
                </a:cubicBezTo>
                <a:lnTo>
                  <a:pt x="2575696" y="4446487"/>
                </a:lnTo>
                <a:lnTo>
                  <a:pt x="0" y="3353169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 wrap="square" tIns="0" bIns="82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417" y="1240539"/>
            <a:ext cx="8280000" cy="6477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ADDB2795-DB3B-40A3-B89C-858C63FC06F1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0E8F659-6D17-4A54-BF14-8E3536EAD1C1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383B5BA-723A-4405-A758-172E5648B93E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IFX_PresentationTitle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AFE04B5B-4266-446C-AFD4-7F662DB99088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78FA743-D255-4464-8B0A-0C6C3C86AF6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620" y="1"/>
            <a:ext cx="12192000" cy="3914479"/>
          </a:xfrm>
          <a:custGeom>
            <a:avLst/>
            <a:gdLst>
              <a:gd name="connsiteX0" fmla="*/ 0 w 12192000"/>
              <a:gd name="connsiteY0" fmla="*/ 754254 h 3914479"/>
              <a:gd name="connsiteX1" fmla="*/ 3718844 w 12192000"/>
              <a:gd name="connsiteY1" fmla="*/ 1409987 h 3914479"/>
              <a:gd name="connsiteX2" fmla="*/ 3717075 w 12192000"/>
              <a:gd name="connsiteY2" fmla="*/ 1418748 h 3914479"/>
              <a:gd name="connsiteX3" fmla="*/ 3792675 w 12192000"/>
              <a:gd name="connsiteY3" fmla="*/ 1494348 h 3914479"/>
              <a:gd name="connsiteX4" fmla="*/ 3822102 w 12192000"/>
              <a:gd name="connsiteY4" fmla="*/ 1488407 h 3914479"/>
              <a:gd name="connsiteX5" fmla="*/ 3827476 w 12192000"/>
              <a:gd name="connsiteY5" fmla="*/ 1484784 h 3914479"/>
              <a:gd name="connsiteX6" fmla="*/ 4940342 w 12192000"/>
              <a:gd name="connsiteY6" fmla="*/ 3668903 h 3914479"/>
              <a:gd name="connsiteX7" fmla="*/ 1040095 w 12192000"/>
              <a:gd name="connsiteY7" fmla="*/ 3866924 h 3914479"/>
              <a:gd name="connsiteX8" fmla="*/ 0 w 12192000"/>
              <a:gd name="connsiteY8" fmla="*/ 3914479 h 3914479"/>
              <a:gd name="connsiteX9" fmla="*/ 8538152 w 12192000"/>
              <a:gd name="connsiteY9" fmla="*/ 0 h 3914479"/>
              <a:gd name="connsiteX10" fmla="*/ 12192000 w 12192000"/>
              <a:gd name="connsiteY10" fmla="*/ 0 h 3914479"/>
              <a:gd name="connsiteX11" fmla="*/ 12192000 w 12192000"/>
              <a:gd name="connsiteY11" fmla="*/ 1782101 h 3914479"/>
              <a:gd name="connsiteX12" fmla="*/ 4684292 w 12192000"/>
              <a:gd name="connsiteY12" fmla="*/ 0 h 3914479"/>
              <a:gd name="connsiteX13" fmla="*/ 8509181 w 12192000"/>
              <a:gd name="connsiteY13" fmla="*/ 0 h 3914479"/>
              <a:gd name="connsiteX14" fmla="*/ 12192000 w 12192000"/>
              <a:gd name="connsiteY14" fmla="*/ 1796231 h 3914479"/>
              <a:gd name="connsiteX15" fmla="*/ 12192000 w 12192000"/>
              <a:gd name="connsiteY15" fmla="*/ 3300727 h 3914479"/>
              <a:gd name="connsiteX16" fmla="*/ 4954235 w 12192000"/>
              <a:gd name="connsiteY16" fmla="*/ 3668198 h 3914479"/>
              <a:gd name="connsiteX17" fmla="*/ 3838086 w 12192000"/>
              <a:gd name="connsiteY17" fmla="*/ 1477631 h 3914479"/>
              <a:gd name="connsiteX18" fmla="*/ 3846133 w 12192000"/>
              <a:gd name="connsiteY18" fmla="*/ 1472206 h 3914479"/>
              <a:gd name="connsiteX19" fmla="*/ 3868275 w 12192000"/>
              <a:gd name="connsiteY19" fmla="*/ 1418748 h 3914479"/>
              <a:gd name="connsiteX20" fmla="*/ 3846133 w 12192000"/>
              <a:gd name="connsiteY20" fmla="*/ 1365291 h 3914479"/>
              <a:gd name="connsiteX21" fmla="*/ 3835600 w 12192000"/>
              <a:gd name="connsiteY21" fmla="*/ 1358189 h 3914479"/>
              <a:gd name="connsiteX22" fmla="*/ 0 w 12192000"/>
              <a:gd name="connsiteY22" fmla="*/ 0 h 3914479"/>
              <a:gd name="connsiteX23" fmla="*/ 4669316 w 12192000"/>
              <a:gd name="connsiteY23" fmla="*/ 0 h 3914479"/>
              <a:gd name="connsiteX24" fmla="*/ 3825063 w 12192000"/>
              <a:gd name="connsiteY24" fmla="*/ 1351086 h 3914479"/>
              <a:gd name="connsiteX25" fmla="*/ 3822102 w 12192000"/>
              <a:gd name="connsiteY25" fmla="*/ 1349089 h 3914479"/>
              <a:gd name="connsiteX26" fmla="*/ 3792675 w 12192000"/>
              <a:gd name="connsiteY26" fmla="*/ 1343148 h 3914479"/>
              <a:gd name="connsiteX27" fmla="*/ 3723016 w 12192000"/>
              <a:gd name="connsiteY27" fmla="*/ 1389321 h 3914479"/>
              <a:gd name="connsiteX28" fmla="*/ 3721358 w 12192000"/>
              <a:gd name="connsiteY28" fmla="*/ 1397534 h 3914479"/>
              <a:gd name="connsiteX29" fmla="*/ 0 w 12192000"/>
              <a:gd name="connsiteY29" fmla="*/ 741358 h 3914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2192000" h="3914479">
                <a:moveTo>
                  <a:pt x="0" y="754254"/>
                </a:moveTo>
                <a:lnTo>
                  <a:pt x="3718844" y="1409987"/>
                </a:lnTo>
                <a:lnTo>
                  <a:pt x="3717075" y="1418748"/>
                </a:lnTo>
                <a:cubicBezTo>
                  <a:pt x="3717075" y="1460501"/>
                  <a:pt x="3750922" y="1494348"/>
                  <a:pt x="3792675" y="1494348"/>
                </a:cubicBezTo>
                <a:cubicBezTo>
                  <a:pt x="3803114" y="1494348"/>
                  <a:pt x="3813058" y="1492233"/>
                  <a:pt x="3822102" y="1488407"/>
                </a:cubicBezTo>
                <a:lnTo>
                  <a:pt x="3827476" y="1484784"/>
                </a:lnTo>
                <a:lnTo>
                  <a:pt x="4940342" y="3668903"/>
                </a:lnTo>
                <a:lnTo>
                  <a:pt x="1040095" y="3866924"/>
                </a:lnTo>
                <a:lnTo>
                  <a:pt x="0" y="3914479"/>
                </a:lnTo>
                <a:close/>
                <a:moveTo>
                  <a:pt x="8538152" y="0"/>
                </a:moveTo>
                <a:lnTo>
                  <a:pt x="12192000" y="0"/>
                </a:lnTo>
                <a:lnTo>
                  <a:pt x="12192000" y="1782101"/>
                </a:lnTo>
                <a:close/>
                <a:moveTo>
                  <a:pt x="4684292" y="0"/>
                </a:moveTo>
                <a:lnTo>
                  <a:pt x="8509181" y="0"/>
                </a:lnTo>
                <a:lnTo>
                  <a:pt x="12192000" y="1796231"/>
                </a:lnTo>
                <a:lnTo>
                  <a:pt x="12192000" y="3300727"/>
                </a:lnTo>
                <a:lnTo>
                  <a:pt x="4954235" y="3668198"/>
                </a:lnTo>
                <a:lnTo>
                  <a:pt x="3838086" y="1477631"/>
                </a:lnTo>
                <a:lnTo>
                  <a:pt x="3846133" y="1472206"/>
                </a:lnTo>
                <a:cubicBezTo>
                  <a:pt x="3859814" y="1458525"/>
                  <a:pt x="3868275" y="1439625"/>
                  <a:pt x="3868275" y="1418748"/>
                </a:cubicBezTo>
                <a:cubicBezTo>
                  <a:pt x="3868275" y="1397872"/>
                  <a:pt x="3859814" y="1378972"/>
                  <a:pt x="3846133" y="1365291"/>
                </a:cubicBezTo>
                <a:lnTo>
                  <a:pt x="3835600" y="1358189"/>
                </a:lnTo>
                <a:close/>
                <a:moveTo>
                  <a:pt x="0" y="0"/>
                </a:moveTo>
                <a:lnTo>
                  <a:pt x="4669316" y="0"/>
                </a:lnTo>
                <a:lnTo>
                  <a:pt x="3825063" y="1351086"/>
                </a:lnTo>
                <a:lnTo>
                  <a:pt x="3822102" y="1349089"/>
                </a:lnTo>
                <a:cubicBezTo>
                  <a:pt x="3813058" y="1345264"/>
                  <a:pt x="3803114" y="1343148"/>
                  <a:pt x="3792675" y="1343148"/>
                </a:cubicBezTo>
                <a:cubicBezTo>
                  <a:pt x="3761361" y="1343148"/>
                  <a:pt x="3734493" y="1362187"/>
                  <a:pt x="3723016" y="1389321"/>
                </a:cubicBezTo>
                <a:lnTo>
                  <a:pt x="3721358" y="1397534"/>
                </a:lnTo>
                <a:lnTo>
                  <a:pt x="0" y="741358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 wrap="square" bIns="82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01" y="4619032"/>
            <a:ext cx="10836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7D4C4BA3-EB41-4D16-AC7A-1D39D9C25FCF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F453EFB-4C66-424D-935B-1B2057CC2B64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26861E4-4C53-40F8-8225-0CFFDC5696CD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FX_PresentationTitle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1AFC5FC0-8899-46D7-81F3-E691DED69C5B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Background White">
            <a:extLst>
              <a:ext uri="{FF2B5EF4-FFF2-40B4-BE49-F238E27FC236}">
                <a16:creationId xmlns:a16="http://schemas.microsoft.com/office/drawing/2014/main" id="{11199FE4-A164-44CF-AA03-877B11877F50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AA4B13D-C5E4-4396-AE89-5B44F620D20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850960" y="0"/>
            <a:ext cx="4344215" cy="3439727"/>
          </a:xfrm>
          <a:custGeom>
            <a:avLst/>
            <a:gdLst>
              <a:gd name="connsiteX0" fmla="*/ 575284 w 4344215"/>
              <a:gd name="connsiteY0" fmla="*/ 0 h 3439727"/>
              <a:gd name="connsiteX1" fmla="*/ 4344215 w 4344215"/>
              <a:gd name="connsiteY1" fmla="*/ 0 h 3439727"/>
              <a:gd name="connsiteX2" fmla="*/ 4344215 w 4344215"/>
              <a:gd name="connsiteY2" fmla="*/ 3291560 h 3439727"/>
              <a:gd name="connsiteX3" fmla="*/ 1425892 w 4344215"/>
              <a:gd name="connsiteY3" fmla="*/ 3439727 h 3439727"/>
              <a:gd name="connsiteX4" fmla="*/ 30731 w 4344215"/>
              <a:gd name="connsiteY4" fmla="*/ 1890244 h 3439727"/>
              <a:gd name="connsiteX5" fmla="*/ 44102 w 4344215"/>
              <a:gd name="connsiteY5" fmla="*/ 1870411 h 3439727"/>
              <a:gd name="connsiteX6" fmla="*/ 50043 w 4344215"/>
              <a:gd name="connsiteY6" fmla="*/ 1840984 h 3439727"/>
              <a:gd name="connsiteX7" fmla="*/ 3870 w 4344215"/>
              <a:gd name="connsiteY7" fmla="*/ 1771325 h 3439727"/>
              <a:gd name="connsiteX8" fmla="*/ 0 w 4344215"/>
              <a:gd name="connsiteY8" fmla="*/ 1770544 h 3439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44215" h="3439727">
                <a:moveTo>
                  <a:pt x="575284" y="0"/>
                </a:moveTo>
                <a:lnTo>
                  <a:pt x="4344215" y="0"/>
                </a:lnTo>
                <a:lnTo>
                  <a:pt x="4344215" y="3291560"/>
                </a:lnTo>
                <a:lnTo>
                  <a:pt x="1425892" y="3439727"/>
                </a:lnTo>
                <a:lnTo>
                  <a:pt x="30731" y="1890244"/>
                </a:lnTo>
                <a:lnTo>
                  <a:pt x="44102" y="1870411"/>
                </a:lnTo>
                <a:cubicBezTo>
                  <a:pt x="47928" y="1861366"/>
                  <a:pt x="50043" y="1851422"/>
                  <a:pt x="50043" y="1840984"/>
                </a:cubicBezTo>
                <a:cubicBezTo>
                  <a:pt x="50043" y="1809669"/>
                  <a:pt x="31004" y="1782802"/>
                  <a:pt x="3870" y="1771325"/>
                </a:cubicBezTo>
                <a:lnTo>
                  <a:pt x="0" y="1770544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D7FAA3EB-4EA2-4D79-807B-405B94E041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24894" y="1"/>
            <a:ext cx="5635624" cy="3690265"/>
          </a:xfrm>
          <a:custGeom>
            <a:avLst/>
            <a:gdLst>
              <a:gd name="connsiteX0" fmla="*/ 4142496 w 5635624"/>
              <a:gd name="connsiteY0" fmla="*/ 1887683 h 3690265"/>
              <a:gd name="connsiteX1" fmla="*/ 4147052 w 5635624"/>
              <a:gd name="connsiteY1" fmla="*/ 1894440 h 3690265"/>
              <a:gd name="connsiteX2" fmla="*/ 4200509 w 5635624"/>
              <a:gd name="connsiteY2" fmla="*/ 1916583 h 3690265"/>
              <a:gd name="connsiteX3" fmla="*/ 4229936 w 5635624"/>
              <a:gd name="connsiteY3" fmla="*/ 1910642 h 3690265"/>
              <a:gd name="connsiteX4" fmla="*/ 4232083 w 5635624"/>
              <a:gd name="connsiteY4" fmla="*/ 1909195 h 3690265"/>
              <a:gd name="connsiteX5" fmla="*/ 4247451 w 5635624"/>
              <a:gd name="connsiteY5" fmla="*/ 1898834 h 3690265"/>
              <a:gd name="connsiteX6" fmla="*/ 5635624 w 5635624"/>
              <a:gd name="connsiteY6" fmla="*/ 3440556 h 3690265"/>
              <a:gd name="connsiteX7" fmla="*/ 1825021 w 5635624"/>
              <a:gd name="connsiteY7" fmla="*/ 3634026 h 3690265"/>
              <a:gd name="connsiteX8" fmla="*/ 0 w 5635624"/>
              <a:gd name="connsiteY8" fmla="*/ 0 h 3690265"/>
              <a:gd name="connsiteX9" fmla="*/ 4787988 w 5635624"/>
              <a:gd name="connsiteY9" fmla="*/ 0 h 3690265"/>
              <a:gd name="connsiteX10" fmla="*/ 4213526 w 5635624"/>
              <a:gd name="connsiteY10" fmla="*/ 1768011 h 3690265"/>
              <a:gd name="connsiteX11" fmla="*/ 4200509 w 5635624"/>
              <a:gd name="connsiteY11" fmla="*/ 1765383 h 3690265"/>
              <a:gd name="connsiteX12" fmla="*/ 4124909 w 5635624"/>
              <a:gd name="connsiteY12" fmla="*/ 1840983 h 3690265"/>
              <a:gd name="connsiteX13" fmla="*/ 4130850 w 5635624"/>
              <a:gd name="connsiteY13" fmla="*/ 1870410 h 3690265"/>
              <a:gd name="connsiteX14" fmla="*/ 4135387 w 5635624"/>
              <a:gd name="connsiteY14" fmla="*/ 1877139 h 3690265"/>
              <a:gd name="connsiteX15" fmla="*/ 1802395 w 5635624"/>
              <a:gd name="connsiteY15" fmla="*/ 3635174 h 3690265"/>
              <a:gd name="connsiteX16" fmla="*/ 717315 w 5635624"/>
              <a:gd name="connsiteY16" fmla="*/ 3690265 h 3690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635624" h="3690265">
                <a:moveTo>
                  <a:pt x="4142496" y="1887683"/>
                </a:moveTo>
                <a:lnTo>
                  <a:pt x="4147052" y="1894440"/>
                </a:lnTo>
                <a:cubicBezTo>
                  <a:pt x="4160733" y="1908121"/>
                  <a:pt x="4179633" y="1916583"/>
                  <a:pt x="4200509" y="1916583"/>
                </a:cubicBezTo>
                <a:cubicBezTo>
                  <a:pt x="4210947" y="1916583"/>
                  <a:pt x="4220892" y="1914468"/>
                  <a:pt x="4229936" y="1910642"/>
                </a:cubicBezTo>
                <a:lnTo>
                  <a:pt x="4232083" y="1909195"/>
                </a:lnTo>
                <a:lnTo>
                  <a:pt x="4247451" y="1898834"/>
                </a:lnTo>
                <a:lnTo>
                  <a:pt x="5635624" y="3440556"/>
                </a:lnTo>
                <a:lnTo>
                  <a:pt x="1825021" y="3634026"/>
                </a:lnTo>
                <a:close/>
                <a:moveTo>
                  <a:pt x="0" y="0"/>
                </a:moveTo>
                <a:lnTo>
                  <a:pt x="4787988" y="0"/>
                </a:lnTo>
                <a:lnTo>
                  <a:pt x="4213526" y="1768011"/>
                </a:lnTo>
                <a:lnTo>
                  <a:pt x="4200509" y="1765383"/>
                </a:lnTo>
                <a:cubicBezTo>
                  <a:pt x="4158756" y="1765383"/>
                  <a:pt x="4124909" y="1799230"/>
                  <a:pt x="4124909" y="1840983"/>
                </a:cubicBezTo>
                <a:cubicBezTo>
                  <a:pt x="4124909" y="1851421"/>
                  <a:pt x="4127025" y="1861365"/>
                  <a:pt x="4130850" y="1870410"/>
                </a:cubicBezTo>
                <a:lnTo>
                  <a:pt x="4135387" y="1877139"/>
                </a:lnTo>
                <a:lnTo>
                  <a:pt x="1802395" y="3635174"/>
                </a:lnTo>
                <a:lnTo>
                  <a:pt x="717315" y="369026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31EEC104-B33B-4D08-B54C-1059153CA59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" y="0"/>
            <a:ext cx="4331116" cy="3910485"/>
          </a:xfrm>
          <a:custGeom>
            <a:avLst/>
            <a:gdLst>
              <a:gd name="connsiteX0" fmla="*/ 0 w 4331116"/>
              <a:gd name="connsiteY0" fmla="*/ 0 h 3910485"/>
              <a:gd name="connsiteX1" fmla="*/ 3613691 w 4331116"/>
              <a:gd name="connsiteY1" fmla="*/ 0 h 3910485"/>
              <a:gd name="connsiteX2" fmla="*/ 4331116 w 4331116"/>
              <a:gd name="connsiteY2" fmla="*/ 3690829 h 3910485"/>
              <a:gd name="connsiteX3" fmla="*/ 4726 w 4331116"/>
              <a:gd name="connsiteY3" fmla="*/ 3910485 h 3910485"/>
              <a:gd name="connsiteX4" fmla="*/ 0 w 4331116"/>
              <a:gd name="connsiteY4" fmla="*/ 3910485 h 3910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1116" h="3910485">
                <a:moveTo>
                  <a:pt x="0" y="0"/>
                </a:moveTo>
                <a:lnTo>
                  <a:pt x="3613691" y="0"/>
                </a:lnTo>
                <a:lnTo>
                  <a:pt x="4331116" y="3690829"/>
                </a:lnTo>
                <a:lnTo>
                  <a:pt x="4726" y="3910485"/>
                </a:lnTo>
                <a:lnTo>
                  <a:pt x="0" y="391048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6C91DFA2-3F65-4B14-A4D0-4B6032B03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01" y="4618800"/>
            <a:ext cx="10836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5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7" name="empower_classification_attention_placeholder" hidden="1">
            <a:extLst>
              <a:ext uri="{FF2B5EF4-FFF2-40B4-BE49-F238E27FC236}">
                <a16:creationId xmlns:a16="http://schemas.microsoft.com/office/drawing/2014/main" id="{BFD2749C-34D6-4E79-BBA4-4241F8134AE4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empower_classification_placeholder">
            <a:extLst>
              <a:ext uri="{FF2B5EF4-FFF2-40B4-BE49-F238E27FC236}">
                <a16:creationId xmlns:a16="http://schemas.microsoft.com/office/drawing/2014/main" id="{907AF50E-1583-452E-8849-A76F308B347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document_placeholder" hidden="1">
            <a:extLst>
              <a:ext uri="{FF2B5EF4-FFF2-40B4-BE49-F238E27FC236}">
                <a16:creationId xmlns:a16="http://schemas.microsoft.com/office/drawing/2014/main" id="{381C3FE7-5D2D-4422-B17C-1335687645D8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21" name="empower_draft_placeholder" hidden="1">
            <a:extLst>
              <a:ext uri="{FF2B5EF4-FFF2-40B4-BE49-F238E27FC236}">
                <a16:creationId xmlns:a16="http://schemas.microsoft.com/office/drawing/2014/main" id="{28047F79-0D17-499E-93DF-8D4A0F6C0EB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D2E933FD-444A-48FB-B09D-535A3E31856D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F0F64E4-3ECD-4DA7-9071-88422566879B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A824C84-95A2-4E55-BBD1-9A8DDECAB2F7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1" name="MIO_AGENDA_IGNORE_NAVIGATION" hidden="1">
            <a:extLst>
              <a:ext uri="{FF2B5EF4-FFF2-40B4-BE49-F238E27FC236}">
                <a16:creationId xmlns:a16="http://schemas.microsoft.com/office/drawing/2014/main" id="{73923FBC-8302-46A2-AAEF-9F2F1FFC31B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B9EE8F10-F396-4FB2-BAE1-D8AE2940E4D3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DFF1ACC-A53B-464A-B036-465BC7BE3CE9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E4665AA8-8CF0-4329-862C-7F59DB27D4F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0DE7C452-06CA-4B5F-B462-4F463B2E49BF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536414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IFX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5-10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FX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FX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mpower_document_placeholder" hidden="1">
            <a:extLst>
              <a:ext uri="{FF2B5EF4-FFF2-40B4-BE49-F238E27FC236}">
                <a16:creationId xmlns:a16="http://schemas.microsoft.com/office/drawing/2014/main" id="{FFF0FC12-D2C8-4BAD-95E2-CE9BB9B049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9" name="empower_proprietary_placeholder" hidden="1">
            <a:extLst>
              <a:ext uri="{FF2B5EF4-FFF2-40B4-BE49-F238E27FC236}">
                <a16:creationId xmlns:a16="http://schemas.microsoft.com/office/drawing/2014/main" id="{0BDDFA46-F5B0-4BB6-87E6-3417954792B2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additionalText_placeholder" hidden="1">
            <a:extLst>
              <a:ext uri="{FF2B5EF4-FFF2-40B4-BE49-F238E27FC236}">
                <a16:creationId xmlns:a16="http://schemas.microsoft.com/office/drawing/2014/main" id="{5769E316-91CB-4D6E-B73F-31C3CCEAAFE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raft_placeholder" hidden="1">
            <a:extLst>
              <a:ext uri="{FF2B5EF4-FFF2-40B4-BE49-F238E27FC236}">
                <a16:creationId xmlns:a16="http://schemas.microsoft.com/office/drawing/2014/main" id="{EB5D3F4D-E18D-43D6-BC78-7B42138EAE8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1" name="empower_footer_placeholder">
            <a:extLst>
              <a:ext uri="{FF2B5EF4-FFF2-40B4-BE49-F238E27FC236}">
                <a16:creationId xmlns:a16="http://schemas.microsoft.com/office/drawing/2014/main" id="{2828881E-C881-4A10-9684-6DDF4156ECC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2" name="empower_classification_attention_placeholder" hidden="1">
            <a:extLst>
              <a:ext uri="{FF2B5EF4-FFF2-40B4-BE49-F238E27FC236}">
                <a16:creationId xmlns:a16="http://schemas.microsoft.com/office/drawing/2014/main" id="{DB33BF1D-F784-46C4-9C51-BC117FD6E082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3" name="empower_classification_placeholder">
            <a:extLst>
              <a:ext uri="{FF2B5EF4-FFF2-40B4-BE49-F238E27FC236}">
                <a16:creationId xmlns:a16="http://schemas.microsoft.com/office/drawing/2014/main" id="{96A62A3F-8D88-4727-B106-3B0FFAC6898D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0D4C3B03-A49F-481B-9F5A-D907E4D8C35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38" name="Topic 1"/>
          <p:cNvSpPr>
            <a:spLocks noGrp="1"/>
          </p:cNvSpPr>
          <p:nvPr>
            <p:ph type="body" idx="17" hasCustomPrompt="1"/>
          </p:nvPr>
        </p:nvSpPr>
        <p:spPr>
          <a:xfrm>
            <a:off x="1235075" y="1268412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39" name="Topic 2"/>
          <p:cNvSpPr>
            <a:spLocks noGrp="1"/>
          </p:cNvSpPr>
          <p:nvPr>
            <p:ph type="body" sz="quarter" idx="18" hasCustomPrompt="1"/>
          </p:nvPr>
        </p:nvSpPr>
        <p:spPr>
          <a:xfrm>
            <a:off x="1235075" y="1916493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0" name="Topic 3"/>
          <p:cNvSpPr>
            <a:spLocks noGrp="1"/>
          </p:cNvSpPr>
          <p:nvPr>
            <p:ph type="body" sz="quarter" idx="19" hasCustomPrompt="1"/>
          </p:nvPr>
        </p:nvSpPr>
        <p:spPr>
          <a:xfrm>
            <a:off x="1235075" y="2564575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1" name="Topic 4"/>
          <p:cNvSpPr>
            <a:spLocks noGrp="1"/>
          </p:cNvSpPr>
          <p:nvPr>
            <p:ph type="body" sz="quarter" idx="20" hasCustomPrompt="1"/>
          </p:nvPr>
        </p:nvSpPr>
        <p:spPr>
          <a:xfrm>
            <a:off x="1235075" y="3212655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2" name="Topic 5"/>
          <p:cNvSpPr>
            <a:spLocks noGrp="1"/>
          </p:cNvSpPr>
          <p:nvPr>
            <p:ph type="body" sz="quarter" idx="21" hasCustomPrompt="1"/>
          </p:nvPr>
        </p:nvSpPr>
        <p:spPr>
          <a:xfrm>
            <a:off x="1235075" y="3860736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3" name="Topic 6"/>
          <p:cNvSpPr>
            <a:spLocks noGrp="1"/>
          </p:cNvSpPr>
          <p:nvPr>
            <p:ph type="body" sz="quarter" idx="22" hasCustomPrompt="1"/>
          </p:nvPr>
        </p:nvSpPr>
        <p:spPr>
          <a:xfrm>
            <a:off x="1235075" y="4508817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4" name="Topic 7"/>
          <p:cNvSpPr>
            <a:spLocks noGrp="1"/>
          </p:cNvSpPr>
          <p:nvPr>
            <p:ph type="body" sz="quarter" idx="23" hasCustomPrompt="1"/>
          </p:nvPr>
        </p:nvSpPr>
        <p:spPr>
          <a:xfrm>
            <a:off x="1235075" y="5156899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5" name="Topic 8"/>
          <p:cNvSpPr>
            <a:spLocks noGrp="1"/>
          </p:cNvSpPr>
          <p:nvPr>
            <p:ph type="body" sz="quarter" idx="24" hasCustomPrompt="1"/>
          </p:nvPr>
        </p:nvSpPr>
        <p:spPr>
          <a:xfrm>
            <a:off x="1235075" y="5804979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6" name="No 1"/>
          <p:cNvSpPr>
            <a:spLocks noGrp="1"/>
          </p:cNvSpPr>
          <p:nvPr>
            <p:ph type="body" idx="28" hasCustomPrompt="1"/>
          </p:nvPr>
        </p:nvSpPr>
        <p:spPr>
          <a:xfrm>
            <a:off x="334433" y="1268412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7" name="No 2"/>
          <p:cNvSpPr>
            <a:spLocks noGrp="1"/>
          </p:cNvSpPr>
          <p:nvPr>
            <p:ph type="body" idx="29" hasCustomPrompt="1"/>
          </p:nvPr>
        </p:nvSpPr>
        <p:spPr>
          <a:xfrm>
            <a:off x="334433" y="1916593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8" name="No 3"/>
          <p:cNvSpPr>
            <a:spLocks noGrp="1"/>
          </p:cNvSpPr>
          <p:nvPr>
            <p:ph type="body" idx="30" hasCustomPrompt="1"/>
          </p:nvPr>
        </p:nvSpPr>
        <p:spPr>
          <a:xfrm>
            <a:off x="334433" y="2564775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9" name="No 4"/>
          <p:cNvSpPr>
            <a:spLocks noGrp="1"/>
          </p:cNvSpPr>
          <p:nvPr>
            <p:ph type="body" idx="31" hasCustomPrompt="1"/>
          </p:nvPr>
        </p:nvSpPr>
        <p:spPr>
          <a:xfrm>
            <a:off x="334433" y="3212955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0" name="No 5"/>
          <p:cNvSpPr>
            <a:spLocks noGrp="1"/>
          </p:cNvSpPr>
          <p:nvPr>
            <p:ph type="body" idx="32" hasCustomPrompt="1"/>
          </p:nvPr>
        </p:nvSpPr>
        <p:spPr>
          <a:xfrm>
            <a:off x="334433" y="3861136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1" name="No 6"/>
          <p:cNvSpPr>
            <a:spLocks noGrp="1"/>
          </p:cNvSpPr>
          <p:nvPr>
            <p:ph type="body" idx="33" hasCustomPrompt="1"/>
          </p:nvPr>
        </p:nvSpPr>
        <p:spPr>
          <a:xfrm>
            <a:off x="334433" y="4509317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2" name="No 7"/>
          <p:cNvSpPr>
            <a:spLocks noGrp="1"/>
          </p:cNvSpPr>
          <p:nvPr>
            <p:ph type="body" idx="34" hasCustomPrompt="1"/>
          </p:nvPr>
        </p:nvSpPr>
        <p:spPr>
          <a:xfrm>
            <a:off x="334433" y="5157499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3" name="No 8"/>
          <p:cNvSpPr>
            <a:spLocks noGrp="1"/>
          </p:cNvSpPr>
          <p:nvPr>
            <p:ph type="body" idx="35" hasCustomPrompt="1"/>
          </p:nvPr>
        </p:nvSpPr>
        <p:spPr>
          <a:xfrm>
            <a:off x="334433" y="5805679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B94D8A8-4B77-4829-982D-1A3D414A0E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7EB33F8-02F3-4EEB-93FB-9B514FC31E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9C70D32-2EA3-441D-A93F-DF718BFCDEBA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95A5B893-AEEA-4A9B-834F-0AED2489648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9D36A4-A38C-4A9D-95E1-B4D140908E0C}"/>
              </a:ext>
            </a:extLst>
          </p:cNvPr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9C62616-E1F5-4B62-8560-97C66E1D1A89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91BD0683-2F82-4B08-96F8-5CAC7C42B277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778">
          <p15:clr>
            <a:srgbClr val="FBAE40"/>
          </p15:clr>
        </p15:guide>
        <p15:guide id="2" pos="7469">
          <p15:clr>
            <a:srgbClr val="FBAE40"/>
          </p15:clr>
        </p15:guide>
        <p15:guide id="3" pos="211">
          <p15:clr>
            <a:srgbClr val="FBAE40"/>
          </p15:clr>
        </p15:guide>
        <p15:guide id="4" orient="horz" pos="799">
          <p15:clr>
            <a:srgbClr val="FBAE40"/>
          </p15:clr>
        </p15:guide>
        <p15:guide id="5" orient="horz" pos="40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FX_Title_and_Two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FX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grpSp>
        <p:nvGrpSpPr>
          <p:cNvPr id="10" name="Lines"/>
          <p:cNvGrpSpPr/>
          <p:nvPr/>
        </p:nvGrpSpPr>
        <p:grpSpPr>
          <a:xfrm>
            <a:off x="-35982" y="0"/>
            <a:ext cx="12227983" cy="5733256"/>
            <a:chOff x="-26987" y="0"/>
            <a:chExt cx="9170987" cy="5733256"/>
          </a:xfrm>
          <a:solidFill>
            <a:schemeClr val="accent3"/>
          </a:solidFill>
        </p:grpSpPr>
        <p:cxnSp>
          <p:nvCxnSpPr>
            <p:cNvPr id="11" name="Gerade Verbindung 5"/>
            <p:cNvCxnSpPr/>
            <p:nvPr/>
          </p:nvCxnSpPr>
          <p:spPr>
            <a:xfrm flipH="1">
              <a:off x="3587742" y="2708920"/>
              <a:ext cx="5556256" cy="2127991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0"/>
            <p:cNvCxnSpPr/>
            <p:nvPr/>
          </p:nvCxnSpPr>
          <p:spPr>
            <a:xfrm flipH="1" flipV="1">
              <a:off x="3587741" y="4836910"/>
              <a:ext cx="264179" cy="896346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3"/>
            <p:cNvCxnSpPr/>
            <p:nvPr/>
          </p:nvCxnSpPr>
          <p:spPr>
            <a:xfrm flipH="1" flipV="1">
              <a:off x="-26987" y="3429646"/>
              <a:ext cx="3614729" cy="1407264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6"/>
            <p:cNvCxnSpPr/>
            <p:nvPr/>
          </p:nvCxnSpPr>
          <p:spPr>
            <a:xfrm flipH="1" flipV="1">
              <a:off x="5652120" y="0"/>
              <a:ext cx="3491880" cy="4149081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Ellipse 6"/>
            <p:cNvSpPr/>
            <p:nvPr/>
          </p:nvSpPr>
          <p:spPr bwMode="auto">
            <a:xfrm>
              <a:off x="3535623" y="4765225"/>
              <a:ext cx="108000" cy="144000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72000" tIns="72000" rIns="72000" bIns="72000" rtlCol="0" anchor="ctr"/>
            <a:lstStyle/>
            <a:p>
              <a:pPr algn="ctr" eaLnBrk="0" hangingPunct="0"/>
              <a:endParaRPr lang="en-US" sz="2133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7" name="Background Shape">
            <a:extLst>
              <a:ext uri="{FF2B5EF4-FFF2-40B4-BE49-F238E27FC236}">
                <a16:creationId xmlns:a16="http://schemas.microsoft.com/office/drawing/2014/main" id="{53E8A2FC-E199-464B-B567-84BD0308D940}"/>
              </a:ext>
            </a:extLst>
          </p:cNvPr>
          <p:cNvSpPr/>
          <p:nvPr userDrawn="1"/>
        </p:nvSpPr>
        <p:spPr bwMode="auto">
          <a:xfrm>
            <a:off x="0" y="4966780"/>
            <a:ext cx="12197369" cy="1891220"/>
          </a:xfrm>
          <a:custGeom>
            <a:avLst/>
            <a:gdLst>
              <a:gd name="connsiteX0" fmla="*/ 9113004 w 9113004"/>
              <a:gd name="connsiteY0" fmla="*/ 92990 h 1906291"/>
              <a:gd name="connsiteX1" fmla="*/ 9113004 w 9113004"/>
              <a:gd name="connsiteY1" fmla="*/ 1906291 h 1906291"/>
              <a:gd name="connsiteX2" fmla="*/ 0 w 9113004"/>
              <a:gd name="connsiteY2" fmla="*/ 1906291 h 1906291"/>
              <a:gd name="connsiteX3" fmla="*/ 0 w 9113004"/>
              <a:gd name="connsiteY3" fmla="*/ 674176 h 1906291"/>
              <a:gd name="connsiteX4" fmla="*/ 7849892 w 9113004"/>
              <a:gd name="connsiteY4" fmla="*/ 0 h 1906291"/>
              <a:gd name="connsiteX5" fmla="*/ 9113004 w 9113004"/>
              <a:gd name="connsiteY5" fmla="*/ 92990 h 1906291"/>
              <a:gd name="connsiteX0" fmla="*/ 9120917 w 9120917"/>
              <a:gd name="connsiteY0" fmla="*/ 92990 h 1906291"/>
              <a:gd name="connsiteX1" fmla="*/ 9120917 w 9120917"/>
              <a:gd name="connsiteY1" fmla="*/ 1906291 h 1906291"/>
              <a:gd name="connsiteX2" fmla="*/ 7913 w 9120917"/>
              <a:gd name="connsiteY2" fmla="*/ 1906291 h 1906291"/>
              <a:gd name="connsiteX3" fmla="*/ 0 w 9120917"/>
              <a:gd name="connsiteY3" fmla="*/ 525435 h 1906291"/>
              <a:gd name="connsiteX4" fmla="*/ 7857805 w 9120917"/>
              <a:gd name="connsiteY4" fmla="*/ 0 h 1906291"/>
              <a:gd name="connsiteX5" fmla="*/ 9120917 w 9120917"/>
              <a:gd name="connsiteY5" fmla="*/ 92990 h 1906291"/>
              <a:gd name="connsiteX0" fmla="*/ 9120917 w 9120917"/>
              <a:gd name="connsiteY0" fmla="*/ 0 h 1813301"/>
              <a:gd name="connsiteX1" fmla="*/ 9120917 w 9120917"/>
              <a:gd name="connsiteY1" fmla="*/ 1813301 h 1813301"/>
              <a:gd name="connsiteX2" fmla="*/ 7913 w 9120917"/>
              <a:gd name="connsiteY2" fmla="*/ 1813301 h 1813301"/>
              <a:gd name="connsiteX3" fmla="*/ 0 w 9120917"/>
              <a:gd name="connsiteY3" fmla="*/ 432445 h 1813301"/>
              <a:gd name="connsiteX4" fmla="*/ 7841980 w 9120917"/>
              <a:gd name="connsiteY4" fmla="*/ 683774 h 1813301"/>
              <a:gd name="connsiteX5" fmla="*/ 9120917 w 9120917"/>
              <a:gd name="connsiteY5" fmla="*/ 0 h 1813301"/>
              <a:gd name="connsiteX0" fmla="*/ 9120917 w 9120917"/>
              <a:gd name="connsiteY0" fmla="*/ 0 h 1813301"/>
              <a:gd name="connsiteX1" fmla="*/ 9120917 w 9120917"/>
              <a:gd name="connsiteY1" fmla="*/ 1813301 h 1813301"/>
              <a:gd name="connsiteX2" fmla="*/ 7913 w 9120917"/>
              <a:gd name="connsiteY2" fmla="*/ 1813301 h 1813301"/>
              <a:gd name="connsiteX3" fmla="*/ 0 w 9120917"/>
              <a:gd name="connsiteY3" fmla="*/ 432445 h 1813301"/>
              <a:gd name="connsiteX4" fmla="*/ 9120917 w 9120917"/>
              <a:gd name="connsiteY4" fmla="*/ 0 h 1813301"/>
              <a:gd name="connsiteX0" fmla="*/ 9165530 w 9165530"/>
              <a:gd name="connsiteY0" fmla="*/ 0 h 1968240"/>
              <a:gd name="connsiteX1" fmla="*/ 9120917 w 9165530"/>
              <a:gd name="connsiteY1" fmla="*/ 1968240 h 1968240"/>
              <a:gd name="connsiteX2" fmla="*/ 7913 w 9165530"/>
              <a:gd name="connsiteY2" fmla="*/ 1968240 h 1968240"/>
              <a:gd name="connsiteX3" fmla="*/ 0 w 9165530"/>
              <a:gd name="connsiteY3" fmla="*/ 587384 h 1968240"/>
              <a:gd name="connsiteX4" fmla="*/ 9165530 w 9165530"/>
              <a:gd name="connsiteY4" fmla="*/ 0 h 1968240"/>
              <a:gd name="connsiteX0" fmla="*/ 9128352 w 9128352"/>
              <a:gd name="connsiteY0" fmla="*/ 0 h 1916593"/>
              <a:gd name="connsiteX1" fmla="*/ 9120917 w 9128352"/>
              <a:gd name="connsiteY1" fmla="*/ 1916593 h 1916593"/>
              <a:gd name="connsiteX2" fmla="*/ 7913 w 9128352"/>
              <a:gd name="connsiteY2" fmla="*/ 1916593 h 1916593"/>
              <a:gd name="connsiteX3" fmla="*/ 0 w 9128352"/>
              <a:gd name="connsiteY3" fmla="*/ 535737 h 1916593"/>
              <a:gd name="connsiteX4" fmla="*/ 9128352 w 9128352"/>
              <a:gd name="connsiteY4" fmla="*/ 0 h 1916593"/>
              <a:gd name="connsiteX0" fmla="*/ 9120917 w 9121632"/>
              <a:gd name="connsiteY0" fmla="*/ 0 h 1937251"/>
              <a:gd name="connsiteX1" fmla="*/ 9120917 w 9121632"/>
              <a:gd name="connsiteY1" fmla="*/ 1937251 h 1937251"/>
              <a:gd name="connsiteX2" fmla="*/ 7913 w 9121632"/>
              <a:gd name="connsiteY2" fmla="*/ 1937251 h 1937251"/>
              <a:gd name="connsiteX3" fmla="*/ 0 w 9121632"/>
              <a:gd name="connsiteY3" fmla="*/ 556395 h 1937251"/>
              <a:gd name="connsiteX4" fmla="*/ 9120917 w 9121632"/>
              <a:gd name="connsiteY4" fmla="*/ 0 h 1937251"/>
              <a:gd name="connsiteX0" fmla="*/ 9120917 w 9121632"/>
              <a:gd name="connsiteY0" fmla="*/ 0 h 1947580"/>
              <a:gd name="connsiteX1" fmla="*/ 9120917 w 9121632"/>
              <a:gd name="connsiteY1" fmla="*/ 1947580 h 1947580"/>
              <a:gd name="connsiteX2" fmla="*/ 7913 w 9121632"/>
              <a:gd name="connsiteY2" fmla="*/ 1947580 h 1947580"/>
              <a:gd name="connsiteX3" fmla="*/ 0 w 9121632"/>
              <a:gd name="connsiteY3" fmla="*/ 566724 h 1947580"/>
              <a:gd name="connsiteX4" fmla="*/ 9120917 w 9121632"/>
              <a:gd name="connsiteY4" fmla="*/ 0 h 1947580"/>
              <a:gd name="connsiteX0" fmla="*/ 9120917 w 9121632"/>
              <a:gd name="connsiteY0" fmla="*/ 0 h 1947580"/>
              <a:gd name="connsiteX1" fmla="*/ 9120917 w 9121632"/>
              <a:gd name="connsiteY1" fmla="*/ 1947580 h 1947580"/>
              <a:gd name="connsiteX2" fmla="*/ 7913 w 9121632"/>
              <a:gd name="connsiteY2" fmla="*/ 1947580 h 1947580"/>
              <a:gd name="connsiteX3" fmla="*/ 0 w 9121632"/>
              <a:gd name="connsiteY3" fmla="*/ 566724 h 1947580"/>
              <a:gd name="connsiteX4" fmla="*/ 9120917 w 9121632"/>
              <a:gd name="connsiteY4" fmla="*/ 0 h 1947580"/>
              <a:gd name="connsiteX0" fmla="*/ 9122756 w 9122756"/>
              <a:gd name="connsiteY0" fmla="*/ 0 h 1965461"/>
              <a:gd name="connsiteX1" fmla="*/ 9120917 w 9122756"/>
              <a:gd name="connsiteY1" fmla="*/ 1965461 h 1965461"/>
              <a:gd name="connsiteX2" fmla="*/ 7913 w 9122756"/>
              <a:gd name="connsiteY2" fmla="*/ 1965461 h 1965461"/>
              <a:gd name="connsiteX3" fmla="*/ 0 w 9122756"/>
              <a:gd name="connsiteY3" fmla="*/ 584605 h 1965461"/>
              <a:gd name="connsiteX4" fmla="*/ 9122756 w 9122756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6074 w 9120917"/>
              <a:gd name="connsiteY2" fmla="*/ 1965461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1190 w 9121190"/>
              <a:gd name="connsiteY0" fmla="*/ 0 h 1965461"/>
              <a:gd name="connsiteX1" fmla="*/ 9119351 w 9121190"/>
              <a:gd name="connsiteY1" fmla="*/ 1965461 h 1965461"/>
              <a:gd name="connsiteX2" fmla="*/ 832 w 9121190"/>
              <a:gd name="connsiteY2" fmla="*/ 1965461 h 1965461"/>
              <a:gd name="connsiteX3" fmla="*/ 273 w 9121190"/>
              <a:gd name="connsiteY3" fmla="*/ 579496 h 1965461"/>
              <a:gd name="connsiteX4" fmla="*/ 9121190 w 9121190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4235 w 9120917"/>
              <a:gd name="connsiteY2" fmla="*/ 1965461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2397 w 9120917"/>
              <a:gd name="connsiteY2" fmla="*/ 1962907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1190 w 9121190"/>
              <a:gd name="connsiteY0" fmla="*/ 0 h 1965462"/>
              <a:gd name="connsiteX1" fmla="*/ 9119351 w 9121190"/>
              <a:gd name="connsiteY1" fmla="*/ 1965461 h 1965462"/>
              <a:gd name="connsiteX2" fmla="*/ 832 w 9121190"/>
              <a:gd name="connsiteY2" fmla="*/ 1965462 h 1965462"/>
              <a:gd name="connsiteX3" fmla="*/ 273 w 9121190"/>
              <a:gd name="connsiteY3" fmla="*/ 579496 h 1965462"/>
              <a:gd name="connsiteX4" fmla="*/ 9121190 w 9121190"/>
              <a:gd name="connsiteY4" fmla="*/ 0 h 1965462"/>
              <a:gd name="connsiteX0" fmla="*/ 9120917 w 9120917"/>
              <a:gd name="connsiteY0" fmla="*/ 0 h 1965462"/>
              <a:gd name="connsiteX1" fmla="*/ 9119078 w 9120917"/>
              <a:gd name="connsiteY1" fmla="*/ 1965461 h 1965462"/>
              <a:gd name="connsiteX2" fmla="*/ 2397 w 9120917"/>
              <a:gd name="connsiteY2" fmla="*/ 1965462 h 1965462"/>
              <a:gd name="connsiteX3" fmla="*/ 0 w 9120917"/>
              <a:gd name="connsiteY3" fmla="*/ 579496 h 1965462"/>
              <a:gd name="connsiteX4" fmla="*/ 9120917 w 9120917"/>
              <a:gd name="connsiteY4" fmla="*/ 0 h 1965462"/>
              <a:gd name="connsiteX0" fmla="*/ 9120917 w 9120917"/>
              <a:gd name="connsiteY0" fmla="*/ 0 h 1965462"/>
              <a:gd name="connsiteX1" fmla="*/ 9119078 w 9120917"/>
              <a:gd name="connsiteY1" fmla="*/ 1965461 h 1965462"/>
              <a:gd name="connsiteX2" fmla="*/ 2397 w 9120917"/>
              <a:gd name="connsiteY2" fmla="*/ 1965462 h 1965462"/>
              <a:gd name="connsiteX3" fmla="*/ 0 w 9120917"/>
              <a:gd name="connsiteY3" fmla="*/ 579496 h 1965462"/>
              <a:gd name="connsiteX4" fmla="*/ 9120917 w 9120917"/>
              <a:gd name="connsiteY4" fmla="*/ 0 h 1965462"/>
              <a:gd name="connsiteX0" fmla="*/ 9121190 w 9121190"/>
              <a:gd name="connsiteY0" fmla="*/ 0 h 1970571"/>
              <a:gd name="connsiteX1" fmla="*/ 9119351 w 9121190"/>
              <a:gd name="connsiteY1" fmla="*/ 1965461 h 1970571"/>
              <a:gd name="connsiteX2" fmla="*/ 832 w 9121190"/>
              <a:gd name="connsiteY2" fmla="*/ 1970571 h 1970571"/>
              <a:gd name="connsiteX3" fmla="*/ 273 w 9121190"/>
              <a:gd name="connsiteY3" fmla="*/ 579496 h 1970571"/>
              <a:gd name="connsiteX4" fmla="*/ 9121190 w 9121190"/>
              <a:gd name="connsiteY4" fmla="*/ 0 h 1970571"/>
              <a:gd name="connsiteX0" fmla="*/ 9121190 w 9121190"/>
              <a:gd name="connsiteY0" fmla="*/ 0 h 1968017"/>
              <a:gd name="connsiteX1" fmla="*/ 9119351 w 9121190"/>
              <a:gd name="connsiteY1" fmla="*/ 1965461 h 1968017"/>
              <a:gd name="connsiteX2" fmla="*/ 832 w 9121190"/>
              <a:gd name="connsiteY2" fmla="*/ 1968017 h 1968017"/>
              <a:gd name="connsiteX3" fmla="*/ 273 w 9121190"/>
              <a:gd name="connsiteY3" fmla="*/ 579496 h 1968017"/>
              <a:gd name="connsiteX4" fmla="*/ 9121190 w 9121190"/>
              <a:gd name="connsiteY4" fmla="*/ 0 h 1968017"/>
              <a:gd name="connsiteX0" fmla="*/ 9121190 w 9121190"/>
              <a:gd name="connsiteY0" fmla="*/ 0 h 1968017"/>
              <a:gd name="connsiteX1" fmla="*/ 9119351 w 9121190"/>
              <a:gd name="connsiteY1" fmla="*/ 1965461 h 1968017"/>
              <a:gd name="connsiteX2" fmla="*/ 832 w 9121190"/>
              <a:gd name="connsiteY2" fmla="*/ 1968017 h 1968017"/>
              <a:gd name="connsiteX3" fmla="*/ 273 w 9121190"/>
              <a:gd name="connsiteY3" fmla="*/ 579496 h 1968017"/>
              <a:gd name="connsiteX4" fmla="*/ 9121190 w 9121190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2197 w 9122197"/>
              <a:gd name="connsiteY0" fmla="*/ 0 h 1965463"/>
              <a:gd name="connsiteX1" fmla="*/ 9120358 w 9122197"/>
              <a:gd name="connsiteY1" fmla="*/ 1965461 h 1965463"/>
              <a:gd name="connsiteX2" fmla="*/ 0 w 9122197"/>
              <a:gd name="connsiteY2" fmla="*/ 1965463 h 1965463"/>
              <a:gd name="connsiteX3" fmla="*/ 1280 w 9122197"/>
              <a:gd name="connsiteY3" fmla="*/ 579496 h 1965463"/>
              <a:gd name="connsiteX4" fmla="*/ 9122197 w 9122197"/>
              <a:gd name="connsiteY4" fmla="*/ 0 h 1965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22197" h="1965463">
                <a:moveTo>
                  <a:pt x="9122197" y="0"/>
                </a:moveTo>
                <a:cubicBezTo>
                  <a:pt x="9119719" y="638864"/>
                  <a:pt x="9122836" y="1326597"/>
                  <a:pt x="9120358" y="1965461"/>
                </a:cubicBezTo>
                <a:lnTo>
                  <a:pt x="0" y="1965463"/>
                </a:lnTo>
                <a:cubicBezTo>
                  <a:pt x="427" y="1503474"/>
                  <a:pt x="853" y="1041485"/>
                  <a:pt x="1280" y="579496"/>
                </a:cubicBezTo>
                <a:lnTo>
                  <a:pt x="9122197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="1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2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eco Shape Right">
            <a:extLst>
              <a:ext uri="{FF2B5EF4-FFF2-40B4-BE49-F238E27FC236}">
                <a16:creationId xmlns:a16="http://schemas.microsoft.com/office/drawing/2014/main" id="{0FEC887A-3A42-42E1-B795-C3A79C447F1E}"/>
              </a:ext>
            </a:extLst>
          </p:cNvPr>
          <p:cNvSpPr>
            <a:spLocks/>
          </p:cNvSpPr>
          <p:nvPr userDrawn="1">
            <p:custDataLst>
              <p:tags r:id="rId21"/>
            </p:custDataLst>
          </p:nvPr>
        </p:nvSpPr>
        <p:spPr bwMode="auto">
          <a:xfrm>
            <a:off x="11674115" y="6489341"/>
            <a:ext cx="518564" cy="368660"/>
          </a:xfrm>
          <a:custGeom>
            <a:avLst/>
            <a:gdLst>
              <a:gd name="connsiteX0" fmla="*/ 233365 w 388923"/>
              <a:gd name="connsiteY0" fmla="*/ 0 h 268456"/>
              <a:gd name="connsiteX1" fmla="*/ 388923 w 388923"/>
              <a:gd name="connsiteY1" fmla="*/ 0 h 268456"/>
              <a:gd name="connsiteX2" fmla="*/ 388923 w 388923"/>
              <a:gd name="connsiteY2" fmla="*/ 268456 h 268456"/>
              <a:gd name="connsiteX3" fmla="*/ 0 w 388923"/>
              <a:gd name="connsiteY3" fmla="*/ 268456 h 268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923" h="268456">
                <a:moveTo>
                  <a:pt x="233365" y="0"/>
                </a:moveTo>
                <a:lnTo>
                  <a:pt x="388923" y="0"/>
                </a:lnTo>
                <a:lnTo>
                  <a:pt x="388923" y="268456"/>
                </a:lnTo>
                <a:lnTo>
                  <a:pt x="0" y="268456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>
            <a:noAutofit/>
          </a:bodyPr>
          <a:lstStyle/>
          <a:p>
            <a:pPr lvl="0" algn="ctr" eaLnBrk="0" hangingPunct="0"/>
            <a:endParaRPr lang="en-US" sz="9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0" name="Deco Shape Left">
            <a:extLst>
              <a:ext uri="{FF2B5EF4-FFF2-40B4-BE49-F238E27FC236}">
                <a16:creationId xmlns:a16="http://schemas.microsoft.com/office/drawing/2014/main" id="{115C01C8-35B4-47DF-87EA-B41C01532174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0720771" y="6489341"/>
            <a:ext cx="1244253" cy="368660"/>
          </a:xfrm>
          <a:custGeom>
            <a:avLst/>
            <a:gdLst>
              <a:gd name="connsiteX0" fmla="*/ 0 w 933190"/>
              <a:gd name="connsiteY0" fmla="*/ 0 h 267494"/>
              <a:gd name="connsiteX1" fmla="*/ 933190 w 933190"/>
              <a:gd name="connsiteY1" fmla="*/ 0 h 267494"/>
              <a:gd name="connsiteX2" fmla="*/ 700660 w 933190"/>
              <a:gd name="connsiteY2" fmla="*/ 267494 h 267494"/>
              <a:gd name="connsiteX3" fmla="*/ 42367 w 933190"/>
              <a:gd name="connsiteY3" fmla="*/ 267494 h 267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3190" h="267494">
                <a:moveTo>
                  <a:pt x="0" y="0"/>
                </a:moveTo>
                <a:lnTo>
                  <a:pt x="933190" y="0"/>
                </a:lnTo>
                <a:lnTo>
                  <a:pt x="700660" y="267494"/>
                </a:lnTo>
                <a:lnTo>
                  <a:pt x="42367" y="267494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>
            <a:noAutofit/>
          </a:bodyPr>
          <a:lstStyle/>
          <a:p>
            <a:pPr lvl="0" algn="ctr" eaLnBrk="0" hangingPunct="0"/>
            <a:endParaRPr lang="en-US" sz="900" baseline="0" noProof="0" dirty="0">
              <a:latin typeface="+mn-lt"/>
              <a:ea typeface="+mn-ea"/>
              <a:cs typeface="+mn-cs"/>
            </a:endParaRPr>
          </a:p>
        </p:txBody>
      </p:sp>
      <p:cxnSp>
        <p:nvCxnSpPr>
          <p:cNvPr id="18" name="Line Bottom">
            <a:extLst>
              <a:ext uri="{FF2B5EF4-FFF2-40B4-BE49-F238E27FC236}">
                <a16:creationId xmlns:a16="http://schemas.microsoft.com/office/drawing/2014/main" id="{50DF868B-BD2D-490A-A05B-F87011512922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0" y="6489340"/>
            <a:ext cx="12193200" cy="0"/>
          </a:xfrm>
          <a:prstGeom prst="line">
            <a:avLst/>
          </a:prstGeom>
          <a:ln w="9525">
            <a:solidFill>
              <a:srgbClr val="B0A5A7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5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cxnSp>
        <p:nvCxnSpPr>
          <p:cNvPr id="9" name="Line Top">
            <a:extLst>
              <a:ext uri="{FF2B5EF4-FFF2-40B4-BE49-F238E27FC236}">
                <a16:creationId xmlns:a16="http://schemas.microsoft.com/office/drawing/2014/main" id="{F58AA643-AEA6-4443-BCBC-495B84238BF5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>
          <a:xfrm>
            <a:off x="334434" y="908721"/>
            <a:ext cx="11521017" cy="0"/>
          </a:xfrm>
          <a:prstGeom prst="line">
            <a:avLst/>
          </a:prstGeom>
          <a:ln w="9525">
            <a:solidFill>
              <a:srgbClr val="B0A5A7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7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grpSp>
        <p:nvGrpSpPr>
          <p:cNvPr id="2" name="Logo">
            <a:extLst>
              <a:ext uri="{FF2B5EF4-FFF2-40B4-BE49-F238E27FC236}">
                <a16:creationId xmlns:a16="http://schemas.microsoft.com/office/drawing/2014/main" id="{09F6C2B3-52AF-4C87-8DA7-D88B6BD510D6}"/>
              </a:ext>
            </a:extLst>
          </p:cNvPr>
          <p:cNvGrpSpPr/>
          <p:nvPr/>
        </p:nvGrpSpPr>
        <p:grpSpPr>
          <a:xfrm>
            <a:off x="10659752" y="193689"/>
            <a:ext cx="1206736" cy="528057"/>
            <a:chOff x="10659752" y="193689"/>
            <a:chExt cx="1206736" cy="528057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481A94B-AD7D-4E10-A0F1-8388E7B440B1}"/>
                </a:ext>
              </a:extLst>
            </p:cNvPr>
            <p:cNvSpPr/>
            <p:nvPr/>
          </p:nvSpPr>
          <p:spPr>
            <a:xfrm>
              <a:off x="10819003" y="243412"/>
              <a:ext cx="932942" cy="305729"/>
            </a:xfrm>
            <a:custGeom>
              <a:avLst/>
              <a:gdLst>
                <a:gd name="connsiteX0" fmla="*/ 740052 w 932942"/>
                <a:gd name="connsiteY0" fmla="*/ 305729 h 305729"/>
                <a:gd name="connsiteX1" fmla="*/ 799239 w 932942"/>
                <a:gd name="connsiteY1" fmla="*/ 214181 h 305729"/>
                <a:gd name="connsiteX2" fmla="*/ 740052 w 932942"/>
                <a:gd name="connsiteY2" fmla="*/ 124761 h 305729"/>
                <a:gd name="connsiteX3" fmla="*/ 681717 w 932942"/>
                <a:gd name="connsiteY3" fmla="*/ 215032 h 305729"/>
                <a:gd name="connsiteX4" fmla="*/ 740052 w 932942"/>
                <a:gd name="connsiteY4" fmla="*/ 305729 h 305729"/>
                <a:gd name="connsiteX5" fmla="*/ 717910 w 932942"/>
                <a:gd name="connsiteY5" fmla="*/ 213755 h 305729"/>
                <a:gd name="connsiteX6" fmla="*/ 740052 w 932942"/>
                <a:gd name="connsiteY6" fmla="*/ 155419 h 305729"/>
                <a:gd name="connsiteX7" fmla="*/ 763046 w 932942"/>
                <a:gd name="connsiteY7" fmla="*/ 214606 h 305729"/>
                <a:gd name="connsiteX8" fmla="*/ 740904 w 932942"/>
                <a:gd name="connsiteY8" fmla="*/ 275923 h 305729"/>
                <a:gd name="connsiteX9" fmla="*/ 717910 w 932942"/>
                <a:gd name="connsiteY9" fmla="*/ 213755 h 305729"/>
                <a:gd name="connsiteX10" fmla="*/ 608904 w 932942"/>
                <a:gd name="connsiteY10" fmla="*/ 305729 h 305729"/>
                <a:gd name="connsiteX11" fmla="*/ 657871 w 932942"/>
                <a:gd name="connsiteY11" fmla="*/ 282735 h 305729"/>
                <a:gd name="connsiteX12" fmla="*/ 644671 w 932942"/>
                <a:gd name="connsiteY12" fmla="*/ 258039 h 305729"/>
                <a:gd name="connsiteX13" fmla="*/ 611884 w 932942"/>
                <a:gd name="connsiteY13" fmla="*/ 275071 h 305729"/>
                <a:gd name="connsiteX14" fmla="*/ 588039 w 932942"/>
                <a:gd name="connsiteY14" fmla="*/ 258890 h 305729"/>
                <a:gd name="connsiteX15" fmla="*/ 582929 w 932942"/>
                <a:gd name="connsiteY15" fmla="*/ 228658 h 305729"/>
                <a:gd name="connsiteX16" fmla="*/ 582929 w 932942"/>
                <a:gd name="connsiteY16" fmla="*/ 225252 h 305729"/>
                <a:gd name="connsiteX17" fmla="*/ 659575 w 932942"/>
                <a:gd name="connsiteY17" fmla="*/ 225252 h 305729"/>
                <a:gd name="connsiteX18" fmla="*/ 659575 w 932942"/>
                <a:gd name="connsiteY18" fmla="*/ 217587 h 305729"/>
                <a:gd name="connsiteX19" fmla="*/ 642968 w 932942"/>
                <a:gd name="connsiteY19" fmla="*/ 143071 h 305729"/>
                <a:gd name="connsiteX20" fmla="*/ 604645 w 932942"/>
                <a:gd name="connsiteY20" fmla="*/ 124761 h 305729"/>
                <a:gd name="connsiteX21" fmla="*/ 563342 w 932942"/>
                <a:gd name="connsiteY21" fmla="*/ 147329 h 305729"/>
                <a:gd name="connsiteX22" fmla="*/ 547587 w 932942"/>
                <a:gd name="connsiteY22" fmla="*/ 215032 h 305729"/>
                <a:gd name="connsiteX23" fmla="*/ 608904 w 932942"/>
                <a:gd name="connsiteY23" fmla="*/ 305729 h 305729"/>
                <a:gd name="connsiteX24" fmla="*/ 605071 w 932942"/>
                <a:gd name="connsiteY24" fmla="*/ 152865 h 305729"/>
                <a:gd name="connsiteX25" fmla="*/ 622104 w 932942"/>
                <a:gd name="connsiteY25" fmla="*/ 165213 h 305729"/>
                <a:gd name="connsiteX26" fmla="*/ 625936 w 932942"/>
                <a:gd name="connsiteY26" fmla="*/ 197148 h 305729"/>
                <a:gd name="connsiteX27" fmla="*/ 582929 w 932942"/>
                <a:gd name="connsiteY27" fmla="*/ 197148 h 305729"/>
                <a:gd name="connsiteX28" fmla="*/ 605071 w 932942"/>
                <a:gd name="connsiteY28" fmla="*/ 152865 h 305729"/>
                <a:gd name="connsiteX29" fmla="*/ 827342 w 932942"/>
                <a:gd name="connsiteY29" fmla="*/ 301471 h 305729"/>
                <a:gd name="connsiteX30" fmla="*/ 860555 w 932942"/>
                <a:gd name="connsiteY30" fmla="*/ 301471 h 305729"/>
                <a:gd name="connsiteX31" fmla="*/ 860555 w 932942"/>
                <a:gd name="connsiteY31" fmla="*/ 173729 h 305729"/>
                <a:gd name="connsiteX32" fmla="*/ 884826 w 932942"/>
                <a:gd name="connsiteY32" fmla="*/ 158400 h 305729"/>
                <a:gd name="connsiteX33" fmla="*/ 895897 w 932942"/>
                <a:gd name="connsiteY33" fmla="*/ 162658 h 305729"/>
                <a:gd name="connsiteX34" fmla="*/ 899730 w 932942"/>
                <a:gd name="connsiteY34" fmla="*/ 185226 h 305729"/>
                <a:gd name="connsiteX35" fmla="*/ 899730 w 932942"/>
                <a:gd name="connsiteY35" fmla="*/ 301471 h 305729"/>
                <a:gd name="connsiteX36" fmla="*/ 932942 w 932942"/>
                <a:gd name="connsiteY36" fmla="*/ 301471 h 305729"/>
                <a:gd name="connsiteX37" fmla="*/ 932942 w 932942"/>
                <a:gd name="connsiteY37" fmla="*/ 169897 h 305729"/>
                <a:gd name="connsiteX38" fmla="*/ 924852 w 932942"/>
                <a:gd name="connsiteY38" fmla="*/ 138387 h 305729"/>
                <a:gd name="connsiteX39" fmla="*/ 897601 w 932942"/>
                <a:gd name="connsiteY39" fmla="*/ 126039 h 305729"/>
                <a:gd name="connsiteX40" fmla="*/ 858000 w 932942"/>
                <a:gd name="connsiteY40" fmla="*/ 145200 h 305729"/>
                <a:gd name="connsiteX41" fmla="*/ 853742 w 932942"/>
                <a:gd name="connsiteY41" fmla="*/ 124761 h 305729"/>
                <a:gd name="connsiteX42" fmla="*/ 822659 w 932942"/>
                <a:gd name="connsiteY42" fmla="*/ 132852 h 305729"/>
                <a:gd name="connsiteX43" fmla="*/ 826917 w 932942"/>
                <a:gd name="connsiteY43" fmla="*/ 174581 h 305729"/>
                <a:gd name="connsiteX44" fmla="*/ 826917 w 932942"/>
                <a:gd name="connsiteY44" fmla="*/ 301471 h 305729"/>
                <a:gd name="connsiteX45" fmla="*/ 441562 w 932942"/>
                <a:gd name="connsiteY45" fmla="*/ 145200 h 305729"/>
                <a:gd name="connsiteX46" fmla="*/ 437304 w 932942"/>
                <a:gd name="connsiteY46" fmla="*/ 124761 h 305729"/>
                <a:gd name="connsiteX47" fmla="*/ 406220 w 932942"/>
                <a:gd name="connsiteY47" fmla="*/ 132852 h 305729"/>
                <a:gd name="connsiteX48" fmla="*/ 410478 w 932942"/>
                <a:gd name="connsiteY48" fmla="*/ 174581 h 305729"/>
                <a:gd name="connsiteX49" fmla="*/ 410478 w 932942"/>
                <a:gd name="connsiteY49" fmla="*/ 301045 h 305729"/>
                <a:gd name="connsiteX50" fmla="*/ 443691 w 932942"/>
                <a:gd name="connsiteY50" fmla="*/ 301045 h 305729"/>
                <a:gd name="connsiteX51" fmla="*/ 443691 w 932942"/>
                <a:gd name="connsiteY51" fmla="*/ 173303 h 305729"/>
                <a:gd name="connsiteX52" fmla="*/ 467962 w 932942"/>
                <a:gd name="connsiteY52" fmla="*/ 157974 h 305729"/>
                <a:gd name="connsiteX53" fmla="*/ 479033 w 932942"/>
                <a:gd name="connsiteY53" fmla="*/ 162232 h 305729"/>
                <a:gd name="connsiteX54" fmla="*/ 482865 w 932942"/>
                <a:gd name="connsiteY54" fmla="*/ 184800 h 305729"/>
                <a:gd name="connsiteX55" fmla="*/ 482865 w 932942"/>
                <a:gd name="connsiteY55" fmla="*/ 301045 h 305729"/>
                <a:gd name="connsiteX56" fmla="*/ 516078 w 932942"/>
                <a:gd name="connsiteY56" fmla="*/ 301045 h 305729"/>
                <a:gd name="connsiteX57" fmla="*/ 516078 w 932942"/>
                <a:gd name="connsiteY57" fmla="*/ 169897 h 305729"/>
                <a:gd name="connsiteX58" fmla="*/ 507987 w 932942"/>
                <a:gd name="connsiteY58" fmla="*/ 138387 h 305729"/>
                <a:gd name="connsiteX59" fmla="*/ 480736 w 932942"/>
                <a:gd name="connsiteY59" fmla="*/ 126039 h 305729"/>
                <a:gd name="connsiteX60" fmla="*/ 441562 w 932942"/>
                <a:gd name="connsiteY60" fmla="*/ 145200 h 305729"/>
                <a:gd name="connsiteX61" fmla="*/ 35342 w 932942"/>
                <a:gd name="connsiteY61" fmla="*/ 70684 h 305729"/>
                <a:gd name="connsiteX62" fmla="*/ 70684 w 932942"/>
                <a:gd name="connsiteY62" fmla="*/ 35342 h 305729"/>
                <a:gd name="connsiteX63" fmla="*/ 35342 w 932942"/>
                <a:gd name="connsiteY63" fmla="*/ 0 h 305729"/>
                <a:gd name="connsiteX64" fmla="*/ 0 w 932942"/>
                <a:gd name="connsiteY64" fmla="*/ 35342 h 305729"/>
                <a:gd name="connsiteX65" fmla="*/ 35342 w 932942"/>
                <a:gd name="connsiteY65" fmla="*/ 70684 h 305729"/>
                <a:gd name="connsiteX66" fmla="*/ 198426 w 932942"/>
                <a:gd name="connsiteY66" fmla="*/ 301471 h 305729"/>
                <a:gd name="connsiteX67" fmla="*/ 198426 w 932942"/>
                <a:gd name="connsiteY67" fmla="*/ 169897 h 305729"/>
                <a:gd name="connsiteX68" fmla="*/ 190336 w 932942"/>
                <a:gd name="connsiteY68" fmla="*/ 138387 h 305729"/>
                <a:gd name="connsiteX69" fmla="*/ 163084 w 932942"/>
                <a:gd name="connsiteY69" fmla="*/ 126039 h 305729"/>
                <a:gd name="connsiteX70" fmla="*/ 123484 w 932942"/>
                <a:gd name="connsiteY70" fmla="*/ 145200 h 305729"/>
                <a:gd name="connsiteX71" fmla="*/ 119226 w 932942"/>
                <a:gd name="connsiteY71" fmla="*/ 124761 h 305729"/>
                <a:gd name="connsiteX72" fmla="*/ 88568 w 932942"/>
                <a:gd name="connsiteY72" fmla="*/ 133277 h 305729"/>
                <a:gd name="connsiteX73" fmla="*/ 92826 w 932942"/>
                <a:gd name="connsiteY73" fmla="*/ 175006 h 305729"/>
                <a:gd name="connsiteX74" fmla="*/ 92826 w 932942"/>
                <a:gd name="connsiteY74" fmla="*/ 301471 h 305729"/>
                <a:gd name="connsiteX75" fmla="*/ 126039 w 932942"/>
                <a:gd name="connsiteY75" fmla="*/ 301471 h 305729"/>
                <a:gd name="connsiteX76" fmla="*/ 126039 w 932942"/>
                <a:gd name="connsiteY76" fmla="*/ 173729 h 305729"/>
                <a:gd name="connsiteX77" fmla="*/ 150310 w 932942"/>
                <a:gd name="connsiteY77" fmla="*/ 158400 h 305729"/>
                <a:gd name="connsiteX78" fmla="*/ 161381 w 932942"/>
                <a:gd name="connsiteY78" fmla="*/ 162658 h 305729"/>
                <a:gd name="connsiteX79" fmla="*/ 165213 w 932942"/>
                <a:gd name="connsiteY79" fmla="*/ 185226 h 305729"/>
                <a:gd name="connsiteX80" fmla="*/ 165213 w 932942"/>
                <a:gd name="connsiteY80" fmla="*/ 301471 h 305729"/>
                <a:gd name="connsiteX81" fmla="*/ 198426 w 932942"/>
                <a:gd name="connsiteY81" fmla="*/ 301471 h 305729"/>
                <a:gd name="connsiteX82" fmla="*/ 351291 w 932942"/>
                <a:gd name="connsiteY82" fmla="*/ 61316 h 305729"/>
                <a:gd name="connsiteX83" fmla="*/ 329149 w 932942"/>
                <a:gd name="connsiteY83" fmla="*/ 83458 h 305729"/>
                <a:gd name="connsiteX84" fmla="*/ 350865 w 932942"/>
                <a:gd name="connsiteY84" fmla="*/ 105600 h 305729"/>
                <a:gd name="connsiteX85" fmla="*/ 373007 w 932942"/>
                <a:gd name="connsiteY85" fmla="*/ 83458 h 305729"/>
                <a:gd name="connsiteX86" fmla="*/ 351291 w 932942"/>
                <a:gd name="connsiteY86" fmla="*/ 61316 h 305729"/>
                <a:gd name="connsiteX87" fmla="*/ 19587 w 932942"/>
                <a:gd name="connsiteY87" fmla="*/ 301471 h 305729"/>
                <a:gd name="connsiteX88" fmla="*/ 52800 w 932942"/>
                <a:gd name="connsiteY88" fmla="*/ 301471 h 305729"/>
                <a:gd name="connsiteX89" fmla="*/ 52800 w 932942"/>
                <a:gd name="connsiteY89" fmla="*/ 94103 h 305729"/>
                <a:gd name="connsiteX90" fmla="*/ 19587 w 932942"/>
                <a:gd name="connsiteY90" fmla="*/ 98361 h 305729"/>
                <a:gd name="connsiteX91" fmla="*/ 19587 w 932942"/>
                <a:gd name="connsiteY91" fmla="*/ 301471 h 305729"/>
                <a:gd name="connsiteX92" fmla="*/ 290826 w 932942"/>
                <a:gd name="connsiteY92" fmla="*/ 81755 h 305729"/>
                <a:gd name="connsiteX93" fmla="*/ 306581 w 932942"/>
                <a:gd name="connsiteY93" fmla="*/ 86865 h 305729"/>
                <a:gd name="connsiteX94" fmla="*/ 315949 w 932942"/>
                <a:gd name="connsiteY94" fmla="*/ 60890 h 305729"/>
                <a:gd name="connsiteX95" fmla="*/ 284865 w 932942"/>
                <a:gd name="connsiteY95" fmla="*/ 51523 h 305729"/>
                <a:gd name="connsiteX96" fmla="*/ 259316 w 932942"/>
                <a:gd name="connsiteY96" fmla="*/ 60039 h 305729"/>
                <a:gd name="connsiteX97" fmla="*/ 242710 w 932942"/>
                <a:gd name="connsiteY97" fmla="*/ 106026 h 305729"/>
                <a:gd name="connsiteX98" fmla="*/ 243136 w 932942"/>
                <a:gd name="connsiteY98" fmla="*/ 128594 h 305729"/>
                <a:gd name="connsiteX99" fmla="*/ 231639 w 932942"/>
                <a:gd name="connsiteY99" fmla="*/ 128594 h 305729"/>
                <a:gd name="connsiteX100" fmla="*/ 231639 w 932942"/>
                <a:gd name="connsiteY100" fmla="*/ 157974 h 305729"/>
                <a:gd name="connsiteX101" fmla="*/ 243136 w 932942"/>
                <a:gd name="connsiteY101" fmla="*/ 157974 h 305729"/>
                <a:gd name="connsiteX102" fmla="*/ 243136 w 932942"/>
                <a:gd name="connsiteY102" fmla="*/ 301045 h 305729"/>
                <a:gd name="connsiteX103" fmla="*/ 277200 w 932942"/>
                <a:gd name="connsiteY103" fmla="*/ 301045 h 305729"/>
                <a:gd name="connsiteX104" fmla="*/ 277200 w 932942"/>
                <a:gd name="connsiteY104" fmla="*/ 158400 h 305729"/>
                <a:gd name="connsiteX105" fmla="*/ 302323 w 932942"/>
                <a:gd name="connsiteY105" fmla="*/ 158400 h 305729"/>
                <a:gd name="connsiteX106" fmla="*/ 308710 w 932942"/>
                <a:gd name="connsiteY106" fmla="*/ 129019 h 305729"/>
                <a:gd name="connsiteX107" fmla="*/ 277626 w 932942"/>
                <a:gd name="connsiteY107" fmla="*/ 129019 h 305729"/>
                <a:gd name="connsiteX108" fmla="*/ 277626 w 932942"/>
                <a:gd name="connsiteY108" fmla="*/ 102619 h 305729"/>
                <a:gd name="connsiteX109" fmla="*/ 290826 w 932942"/>
                <a:gd name="connsiteY109" fmla="*/ 81755 h 305729"/>
                <a:gd name="connsiteX110" fmla="*/ 334258 w 932942"/>
                <a:gd name="connsiteY110" fmla="*/ 301471 h 305729"/>
                <a:gd name="connsiteX111" fmla="*/ 367897 w 932942"/>
                <a:gd name="connsiteY111" fmla="*/ 301471 h 305729"/>
                <a:gd name="connsiteX112" fmla="*/ 367897 w 932942"/>
                <a:gd name="connsiteY112" fmla="*/ 126039 h 305729"/>
                <a:gd name="connsiteX113" fmla="*/ 334258 w 932942"/>
                <a:gd name="connsiteY113" fmla="*/ 130297 h 305729"/>
                <a:gd name="connsiteX114" fmla="*/ 334258 w 932942"/>
                <a:gd name="connsiteY114" fmla="*/ 301471 h 30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932942" h="305729">
                  <a:moveTo>
                    <a:pt x="740052" y="305729"/>
                  </a:moveTo>
                  <a:cubicBezTo>
                    <a:pt x="785188" y="305729"/>
                    <a:pt x="799239" y="258039"/>
                    <a:pt x="799239" y="214181"/>
                  </a:cubicBezTo>
                  <a:cubicBezTo>
                    <a:pt x="799239" y="155419"/>
                    <a:pt x="774542" y="124761"/>
                    <a:pt x="740052" y="124761"/>
                  </a:cubicBezTo>
                  <a:cubicBezTo>
                    <a:pt x="696620" y="124761"/>
                    <a:pt x="681291" y="172452"/>
                    <a:pt x="681717" y="215032"/>
                  </a:cubicBezTo>
                  <a:cubicBezTo>
                    <a:pt x="682142" y="257187"/>
                    <a:pt x="694065" y="305729"/>
                    <a:pt x="740052" y="305729"/>
                  </a:cubicBezTo>
                  <a:close/>
                  <a:moveTo>
                    <a:pt x="717910" y="213755"/>
                  </a:moveTo>
                  <a:cubicBezTo>
                    <a:pt x="717910" y="196297"/>
                    <a:pt x="717910" y="155419"/>
                    <a:pt x="740052" y="155419"/>
                  </a:cubicBezTo>
                  <a:cubicBezTo>
                    <a:pt x="763897" y="155419"/>
                    <a:pt x="763046" y="195871"/>
                    <a:pt x="763046" y="214606"/>
                  </a:cubicBezTo>
                  <a:cubicBezTo>
                    <a:pt x="763046" y="232490"/>
                    <a:pt x="763046" y="275923"/>
                    <a:pt x="740904" y="275923"/>
                  </a:cubicBezTo>
                  <a:cubicBezTo>
                    <a:pt x="717059" y="275497"/>
                    <a:pt x="717910" y="232065"/>
                    <a:pt x="717910" y="213755"/>
                  </a:cubicBezTo>
                  <a:close/>
                  <a:moveTo>
                    <a:pt x="608904" y="305729"/>
                  </a:moveTo>
                  <a:cubicBezTo>
                    <a:pt x="627213" y="305729"/>
                    <a:pt x="642968" y="298490"/>
                    <a:pt x="657871" y="282735"/>
                  </a:cubicBezTo>
                  <a:lnTo>
                    <a:pt x="644671" y="258039"/>
                  </a:lnTo>
                  <a:cubicBezTo>
                    <a:pt x="634452" y="269110"/>
                    <a:pt x="624233" y="275071"/>
                    <a:pt x="611884" y="275071"/>
                  </a:cubicBezTo>
                  <a:cubicBezTo>
                    <a:pt x="601665" y="275071"/>
                    <a:pt x="593149" y="269110"/>
                    <a:pt x="588039" y="258890"/>
                  </a:cubicBezTo>
                  <a:cubicBezTo>
                    <a:pt x="583781" y="249948"/>
                    <a:pt x="582929" y="239729"/>
                    <a:pt x="582929" y="228658"/>
                  </a:cubicBezTo>
                  <a:lnTo>
                    <a:pt x="582929" y="225252"/>
                  </a:lnTo>
                  <a:lnTo>
                    <a:pt x="659575" y="225252"/>
                  </a:lnTo>
                  <a:lnTo>
                    <a:pt x="659575" y="217587"/>
                  </a:lnTo>
                  <a:cubicBezTo>
                    <a:pt x="659575" y="179690"/>
                    <a:pt x="654891" y="158826"/>
                    <a:pt x="642968" y="143071"/>
                  </a:cubicBezTo>
                  <a:cubicBezTo>
                    <a:pt x="634026" y="131148"/>
                    <a:pt x="620826" y="124761"/>
                    <a:pt x="604645" y="124761"/>
                  </a:cubicBezTo>
                  <a:cubicBezTo>
                    <a:pt x="587613" y="124761"/>
                    <a:pt x="573562" y="132426"/>
                    <a:pt x="563342" y="147329"/>
                  </a:cubicBezTo>
                  <a:cubicBezTo>
                    <a:pt x="552271" y="163510"/>
                    <a:pt x="547587" y="185226"/>
                    <a:pt x="547587" y="215032"/>
                  </a:cubicBezTo>
                  <a:cubicBezTo>
                    <a:pt x="547162" y="272090"/>
                    <a:pt x="569729" y="305729"/>
                    <a:pt x="608904" y="305729"/>
                  </a:cubicBezTo>
                  <a:close/>
                  <a:moveTo>
                    <a:pt x="605071" y="152865"/>
                  </a:moveTo>
                  <a:cubicBezTo>
                    <a:pt x="613587" y="152865"/>
                    <a:pt x="618697" y="157548"/>
                    <a:pt x="622104" y="165213"/>
                  </a:cubicBezTo>
                  <a:cubicBezTo>
                    <a:pt x="624658" y="172026"/>
                    <a:pt x="625936" y="183523"/>
                    <a:pt x="625936" y="197148"/>
                  </a:cubicBezTo>
                  <a:lnTo>
                    <a:pt x="582929" y="197148"/>
                  </a:lnTo>
                  <a:cubicBezTo>
                    <a:pt x="583355" y="166916"/>
                    <a:pt x="589742" y="152865"/>
                    <a:pt x="605071" y="152865"/>
                  </a:cubicBezTo>
                  <a:close/>
                  <a:moveTo>
                    <a:pt x="827342" y="301471"/>
                  </a:moveTo>
                  <a:lnTo>
                    <a:pt x="860555" y="301471"/>
                  </a:lnTo>
                  <a:lnTo>
                    <a:pt x="860555" y="173729"/>
                  </a:lnTo>
                  <a:cubicBezTo>
                    <a:pt x="868646" y="163935"/>
                    <a:pt x="878013" y="158400"/>
                    <a:pt x="884826" y="158400"/>
                  </a:cubicBezTo>
                  <a:cubicBezTo>
                    <a:pt x="889084" y="158400"/>
                    <a:pt x="893342" y="159252"/>
                    <a:pt x="895897" y="162658"/>
                  </a:cubicBezTo>
                  <a:cubicBezTo>
                    <a:pt x="898452" y="166490"/>
                    <a:pt x="899730" y="172026"/>
                    <a:pt x="899730" y="185226"/>
                  </a:cubicBezTo>
                  <a:lnTo>
                    <a:pt x="899730" y="301471"/>
                  </a:lnTo>
                  <a:lnTo>
                    <a:pt x="932942" y="301471"/>
                  </a:lnTo>
                  <a:lnTo>
                    <a:pt x="932942" y="169897"/>
                  </a:lnTo>
                  <a:cubicBezTo>
                    <a:pt x="932942" y="158400"/>
                    <a:pt x="931665" y="146903"/>
                    <a:pt x="924852" y="138387"/>
                  </a:cubicBezTo>
                  <a:cubicBezTo>
                    <a:pt x="918891" y="130723"/>
                    <a:pt x="909523" y="126039"/>
                    <a:pt x="897601" y="126039"/>
                  </a:cubicBezTo>
                  <a:cubicBezTo>
                    <a:pt x="882272" y="126039"/>
                    <a:pt x="866517" y="134981"/>
                    <a:pt x="858000" y="145200"/>
                  </a:cubicBezTo>
                  <a:cubicBezTo>
                    <a:pt x="857575" y="136258"/>
                    <a:pt x="854594" y="127742"/>
                    <a:pt x="853742" y="124761"/>
                  </a:cubicBezTo>
                  <a:lnTo>
                    <a:pt x="822659" y="132852"/>
                  </a:lnTo>
                  <a:cubicBezTo>
                    <a:pt x="824362" y="142219"/>
                    <a:pt x="826917" y="153716"/>
                    <a:pt x="826917" y="174581"/>
                  </a:cubicBezTo>
                  <a:lnTo>
                    <a:pt x="826917" y="301471"/>
                  </a:lnTo>
                  <a:close/>
                  <a:moveTo>
                    <a:pt x="441562" y="145200"/>
                  </a:moveTo>
                  <a:cubicBezTo>
                    <a:pt x="441136" y="136258"/>
                    <a:pt x="438155" y="127742"/>
                    <a:pt x="437304" y="124761"/>
                  </a:cubicBezTo>
                  <a:lnTo>
                    <a:pt x="406220" y="132852"/>
                  </a:lnTo>
                  <a:cubicBezTo>
                    <a:pt x="407923" y="142219"/>
                    <a:pt x="410478" y="153716"/>
                    <a:pt x="410478" y="174581"/>
                  </a:cubicBezTo>
                  <a:lnTo>
                    <a:pt x="410478" y="301045"/>
                  </a:lnTo>
                  <a:lnTo>
                    <a:pt x="443691" y="301045"/>
                  </a:lnTo>
                  <a:lnTo>
                    <a:pt x="443691" y="173303"/>
                  </a:lnTo>
                  <a:cubicBezTo>
                    <a:pt x="451781" y="163510"/>
                    <a:pt x="461149" y="157974"/>
                    <a:pt x="467962" y="157974"/>
                  </a:cubicBezTo>
                  <a:cubicBezTo>
                    <a:pt x="472220" y="157974"/>
                    <a:pt x="476478" y="158826"/>
                    <a:pt x="479033" y="162232"/>
                  </a:cubicBezTo>
                  <a:cubicBezTo>
                    <a:pt x="481587" y="166065"/>
                    <a:pt x="482865" y="171600"/>
                    <a:pt x="482865" y="184800"/>
                  </a:cubicBezTo>
                  <a:lnTo>
                    <a:pt x="482865" y="301045"/>
                  </a:lnTo>
                  <a:lnTo>
                    <a:pt x="516078" y="301045"/>
                  </a:lnTo>
                  <a:lnTo>
                    <a:pt x="516078" y="169897"/>
                  </a:lnTo>
                  <a:cubicBezTo>
                    <a:pt x="516078" y="158400"/>
                    <a:pt x="514800" y="146903"/>
                    <a:pt x="507987" y="138387"/>
                  </a:cubicBezTo>
                  <a:cubicBezTo>
                    <a:pt x="502026" y="130723"/>
                    <a:pt x="492658" y="126039"/>
                    <a:pt x="480736" y="126039"/>
                  </a:cubicBezTo>
                  <a:cubicBezTo>
                    <a:pt x="465833" y="126039"/>
                    <a:pt x="450078" y="134981"/>
                    <a:pt x="441562" y="145200"/>
                  </a:cubicBezTo>
                  <a:close/>
                  <a:moveTo>
                    <a:pt x="35342" y="70684"/>
                  </a:moveTo>
                  <a:cubicBezTo>
                    <a:pt x="54929" y="70684"/>
                    <a:pt x="70684" y="54929"/>
                    <a:pt x="70684" y="35342"/>
                  </a:cubicBezTo>
                  <a:cubicBezTo>
                    <a:pt x="70684" y="15755"/>
                    <a:pt x="54929" y="0"/>
                    <a:pt x="35342" y="0"/>
                  </a:cubicBezTo>
                  <a:cubicBezTo>
                    <a:pt x="15755" y="0"/>
                    <a:pt x="0" y="15755"/>
                    <a:pt x="0" y="35342"/>
                  </a:cubicBezTo>
                  <a:cubicBezTo>
                    <a:pt x="0" y="54929"/>
                    <a:pt x="15755" y="70684"/>
                    <a:pt x="35342" y="70684"/>
                  </a:cubicBezTo>
                  <a:close/>
                  <a:moveTo>
                    <a:pt x="198426" y="301471"/>
                  </a:moveTo>
                  <a:lnTo>
                    <a:pt x="198426" y="169897"/>
                  </a:lnTo>
                  <a:cubicBezTo>
                    <a:pt x="198426" y="158400"/>
                    <a:pt x="197148" y="146903"/>
                    <a:pt x="190336" y="138387"/>
                  </a:cubicBezTo>
                  <a:cubicBezTo>
                    <a:pt x="184374" y="130723"/>
                    <a:pt x="175007" y="126039"/>
                    <a:pt x="163084" y="126039"/>
                  </a:cubicBezTo>
                  <a:cubicBezTo>
                    <a:pt x="147755" y="126039"/>
                    <a:pt x="132000" y="134981"/>
                    <a:pt x="123484" y="145200"/>
                  </a:cubicBezTo>
                  <a:cubicBezTo>
                    <a:pt x="123058" y="136258"/>
                    <a:pt x="120077" y="127742"/>
                    <a:pt x="119226" y="124761"/>
                  </a:cubicBezTo>
                  <a:lnTo>
                    <a:pt x="88568" y="133277"/>
                  </a:lnTo>
                  <a:cubicBezTo>
                    <a:pt x="90271" y="142645"/>
                    <a:pt x="92826" y="154142"/>
                    <a:pt x="92826" y="175006"/>
                  </a:cubicBezTo>
                  <a:lnTo>
                    <a:pt x="92826" y="301471"/>
                  </a:lnTo>
                  <a:lnTo>
                    <a:pt x="126039" y="301471"/>
                  </a:lnTo>
                  <a:lnTo>
                    <a:pt x="126039" y="173729"/>
                  </a:lnTo>
                  <a:cubicBezTo>
                    <a:pt x="134129" y="163935"/>
                    <a:pt x="143497" y="158400"/>
                    <a:pt x="150310" y="158400"/>
                  </a:cubicBezTo>
                  <a:cubicBezTo>
                    <a:pt x="154568" y="158400"/>
                    <a:pt x="158826" y="159252"/>
                    <a:pt x="161381" y="162658"/>
                  </a:cubicBezTo>
                  <a:cubicBezTo>
                    <a:pt x="163936" y="166490"/>
                    <a:pt x="165213" y="172026"/>
                    <a:pt x="165213" y="185226"/>
                  </a:cubicBezTo>
                  <a:lnTo>
                    <a:pt x="165213" y="301471"/>
                  </a:lnTo>
                  <a:lnTo>
                    <a:pt x="198426" y="301471"/>
                  </a:lnTo>
                  <a:close/>
                  <a:moveTo>
                    <a:pt x="351291" y="61316"/>
                  </a:moveTo>
                  <a:cubicBezTo>
                    <a:pt x="338942" y="61316"/>
                    <a:pt x="329149" y="71110"/>
                    <a:pt x="329149" y="83458"/>
                  </a:cubicBezTo>
                  <a:cubicBezTo>
                    <a:pt x="329149" y="95806"/>
                    <a:pt x="338942" y="105600"/>
                    <a:pt x="350865" y="105600"/>
                  </a:cubicBezTo>
                  <a:cubicBezTo>
                    <a:pt x="363213" y="105600"/>
                    <a:pt x="373007" y="95806"/>
                    <a:pt x="373007" y="83458"/>
                  </a:cubicBezTo>
                  <a:cubicBezTo>
                    <a:pt x="373007" y="71110"/>
                    <a:pt x="363213" y="61316"/>
                    <a:pt x="351291" y="61316"/>
                  </a:cubicBezTo>
                  <a:close/>
                  <a:moveTo>
                    <a:pt x="19587" y="301471"/>
                  </a:moveTo>
                  <a:lnTo>
                    <a:pt x="52800" y="301471"/>
                  </a:lnTo>
                  <a:lnTo>
                    <a:pt x="52800" y="94103"/>
                  </a:lnTo>
                  <a:lnTo>
                    <a:pt x="19587" y="98361"/>
                  </a:lnTo>
                  <a:lnTo>
                    <a:pt x="19587" y="301471"/>
                  </a:lnTo>
                  <a:close/>
                  <a:moveTo>
                    <a:pt x="290826" y="81755"/>
                  </a:moveTo>
                  <a:cubicBezTo>
                    <a:pt x="296787" y="81755"/>
                    <a:pt x="302749" y="83884"/>
                    <a:pt x="306581" y="86865"/>
                  </a:cubicBezTo>
                  <a:lnTo>
                    <a:pt x="315949" y="60890"/>
                  </a:lnTo>
                  <a:cubicBezTo>
                    <a:pt x="307007" y="54503"/>
                    <a:pt x="297213" y="51523"/>
                    <a:pt x="284865" y="51523"/>
                  </a:cubicBezTo>
                  <a:cubicBezTo>
                    <a:pt x="276349" y="51523"/>
                    <a:pt x="267407" y="53652"/>
                    <a:pt x="259316" y="60039"/>
                  </a:cubicBezTo>
                  <a:cubicBezTo>
                    <a:pt x="251226" y="66852"/>
                    <a:pt x="242710" y="80477"/>
                    <a:pt x="242710" y="106026"/>
                  </a:cubicBezTo>
                  <a:cubicBezTo>
                    <a:pt x="242710" y="117097"/>
                    <a:pt x="243136" y="128594"/>
                    <a:pt x="243136" y="128594"/>
                  </a:cubicBezTo>
                  <a:lnTo>
                    <a:pt x="231639" y="128594"/>
                  </a:lnTo>
                  <a:lnTo>
                    <a:pt x="231639" y="157974"/>
                  </a:lnTo>
                  <a:lnTo>
                    <a:pt x="243136" y="157974"/>
                  </a:lnTo>
                  <a:lnTo>
                    <a:pt x="243136" y="301045"/>
                  </a:lnTo>
                  <a:lnTo>
                    <a:pt x="277200" y="301045"/>
                  </a:lnTo>
                  <a:lnTo>
                    <a:pt x="277200" y="158400"/>
                  </a:lnTo>
                  <a:lnTo>
                    <a:pt x="302323" y="158400"/>
                  </a:lnTo>
                  <a:lnTo>
                    <a:pt x="308710" y="129019"/>
                  </a:lnTo>
                  <a:lnTo>
                    <a:pt x="277626" y="129019"/>
                  </a:lnTo>
                  <a:lnTo>
                    <a:pt x="277626" y="102619"/>
                  </a:lnTo>
                  <a:cubicBezTo>
                    <a:pt x="277626" y="89845"/>
                    <a:pt x="282736" y="81755"/>
                    <a:pt x="290826" y="81755"/>
                  </a:cubicBezTo>
                  <a:close/>
                  <a:moveTo>
                    <a:pt x="334258" y="301471"/>
                  </a:moveTo>
                  <a:lnTo>
                    <a:pt x="367897" y="301471"/>
                  </a:lnTo>
                  <a:lnTo>
                    <a:pt x="367897" y="126039"/>
                  </a:lnTo>
                  <a:lnTo>
                    <a:pt x="334258" y="130297"/>
                  </a:lnTo>
                  <a:lnTo>
                    <a:pt x="334258" y="301471"/>
                  </a:lnTo>
                  <a:close/>
                </a:path>
              </a:pathLst>
            </a:custGeom>
            <a:solidFill>
              <a:srgbClr val="005DA9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B3DFC8B-687C-41DA-A4C3-866145B61F3A}"/>
                </a:ext>
              </a:extLst>
            </p:cNvPr>
            <p:cNvSpPr/>
            <p:nvPr/>
          </p:nvSpPr>
          <p:spPr>
            <a:xfrm>
              <a:off x="10659752" y="193689"/>
              <a:ext cx="1206736" cy="528057"/>
            </a:xfrm>
            <a:custGeom>
              <a:avLst/>
              <a:gdLst>
                <a:gd name="connsiteX0" fmla="*/ 1024065 w 1206736"/>
                <a:gd name="connsiteY0" fmla="*/ 444872 h 528057"/>
                <a:gd name="connsiteX1" fmla="*/ 641265 w 1206736"/>
                <a:gd name="connsiteY1" fmla="*/ 492562 h 528057"/>
                <a:gd name="connsiteX2" fmla="*/ 67703 w 1206736"/>
                <a:gd name="connsiteY2" fmla="*/ 261349 h 528057"/>
                <a:gd name="connsiteX3" fmla="*/ 165639 w 1206736"/>
                <a:gd name="connsiteY3" fmla="*/ 122962 h 528057"/>
                <a:gd name="connsiteX4" fmla="*/ 146478 w 1206736"/>
                <a:gd name="connsiteY4" fmla="*/ 85491 h 528057"/>
                <a:gd name="connsiteX5" fmla="*/ 0 w 1206736"/>
                <a:gd name="connsiteY5" fmla="*/ 265181 h 528057"/>
                <a:gd name="connsiteX6" fmla="*/ 644671 w 1206736"/>
                <a:gd name="connsiteY6" fmla="*/ 527904 h 528057"/>
                <a:gd name="connsiteX7" fmla="*/ 992130 w 1206736"/>
                <a:gd name="connsiteY7" fmla="*/ 473826 h 528057"/>
                <a:gd name="connsiteX8" fmla="*/ 1206736 w 1206736"/>
                <a:gd name="connsiteY8" fmla="*/ 353749 h 528057"/>
                <a:gd name="connsiteX9" fmla="*/ 1024065 w 1206736"/>
                <a:gd name="connsiteY9" fmla="*/ 444872 h 528057"/>
                <a:gd name="connsiteX10" fmla="*/ 309136 w 1206736"/>
                <a:gd name="connsiteY10" fmla="*/ 58239 h 528057"/>
                <a:gd name="connsiteX11" fmla="*/ 363639 w 1206736"/>
                <a:gd name="connsiteY11" fmla="*/ 40781 h 528057"/>
                <a:gd name="connsiteX12" fmla="*/ 645097 w 1206736"/>
                <a:gd name="connsiteY12" fmla="*/ 2459 h 528057"/>
                <a:gd name="connsiteX13" fmla="*/ 356826 w 1206736"/>
                <a:gd name="connsiteY13" fmla="*/ 17788 h 528057"/>
                <a:gd name="connsiteX14" fmla="*/ 298490 w 1206736"/>
                <a:gd name="connsiteY14" fmla="*/ 30136 h 528057"/>
                <a:gd name="connsiteX15" fmla="*/ 275071 w 1206736"/>
                <a:gd name="connsiteY15" fmla="*/ 36523 h 528057"/>
                <a:gd name="connsiteX16" fmla="*/ 253781 w 1206736"/>
                <a:gd name="connsiteY16" fmla="*/ 42484 h 528057"/>
                <a:gd name="connsiteX17" fmla="*/ 228232 w 1206736"/>
                <a:gd name="connsiteY17" fmla="*/ 51001 h 528057"/>
                <a:gd name="connsiteX18" fmla="*/ 242284 w 1206736"/>
                <a:gd name="connsiteY18" fmla="*/ 83362 h 528057"/>
                <a:gd name="connsiteX19" fmla="*/ 309136 w 1206736"/>
                <a:gd name="connsiteY19" fmla="*/ 58239 h 52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06736" h="528057">
                  <a:moveTo>
                    <a:pt x="1024065" y="444872"/>
                  </a:moveTo>
                  <a:cubicBezTo>
                    <a:pt x="911652" y="478085"/>
                    <a:pt x="774968" y="492562"/>
                    <a:pt x="641265" y="492562"/>
                  </a:cubicBezTo>
                  <a:cubicBezTo>
                    <a:pt x="301897" y="492562"/>
                    <a:pt x="83032" y="392923"/>
                    <a:pt x="67703" y="261349"/>
                  </a:cubicBezTo>
                  <a:cubicBezTo>
                    <a:pt x="62168" y="211955"/>
                    <a:pt x="100916" y="163839"/>
                    <a:pt x="165639" y="122962"/>
                  </a:cubicBezTo>
                  <a:cubicBezTo>
                    <a:pt x="154142" y="114446"/>
                    <a:pt x="146903" y="100820"/>
                    <a:pt x="146478" y="85491"/>
                  </a:cubicBezTo>
                  <a:cubicBezTo>
                    <a:pt x="52800" y="134885"/>
                    <a:pt x="0" y="199607"/>
                    <a:pt x="0" y="265181"/>
                  </a:cubicBezTo>
                  <a:cubicBezTo>
                    <a:pt x="0" y="410381"/>
                    <a:pt x="259316" y="533014"/>
                    <a:pt x="644671" y="527904"/>
                  </a:cubicBezTo>
                  <a:cubicBezTo>
                    <a:pt x="778800" y="526201"/>
                    <a:pt x="890788" y="507039"/>
                    <a:pt x="992130" y="473826"/>
                  </a:cubicBezTo>
                  <a:cubicBezTo>
                    <a:pt x="1112633" y="434652"/>
                    <a:pt x="1188427" y="378446"/>
                    <a:pt x="1206736" y="353749"/>
                  </a:cubicBezTo>
                  <a:cubicBezTo>
                    <a:pt x="1185020" y="373336"/>
                    <a:pt x="1133498" y="412510"/>
                    <a:pt x="1024065" y="444872"/>
                  </a:cubicBezTo>
                  <a:close/>
                  <a:moveTo>
                    <a:pt x="309136" y="58239"/>
                  </a:moveTo>
                  <a:cubicBezTo>
                    <a:pt x="331703" y="50575"/>
                    <a:pt x="363639" y="40781"/>
                    <a:pt x="363639" y="40781"/>
                  </a:cubicBezTo>
                  <a:cubicBezTo>
                    <a:pt x="453484" y="16084"/>
                    <a:pt x="552697" y="1607"/>
                    <a:pt x="645097" y="2459"/>
                  </a:cubicBezTo>
                  <a:cubicBezTo>
                    <a:pt x="538645" y="-3928"/>
                    <a:pt x="441562" y="2459"/>
                    <a:pt x="356826" y="17788"/>
                  </a:cubicBezTo>
                  <a:cubicBezTo>
                    <a:pt x="356826" y="17788"/>
                    <a:pt x="328723" y="22472"/>
                    <a:pt x="298490" y="30136"/>
                  </a:cubicBezTo>
                  <a:cubicBezTo>
                    <a:pt x="298490" y="30136"/>
                    <a:pt x="284013" y="33968"/>
                    <a:pt x="275071" y="36523"/>
                  </a:cubicBezTo>
                  <a:cubicBezTo>
                    <a:pt x="266129" y="39078"/>
                    <a:pt x="253781" y="42484"/>
                    <a:pt x="253781" y="42484"/>
                  </a:cubicBezTo>
                  <a:cubicBezTo>
                    <a:pt x="245265" y="45039"/>
                    <a:pt x="236749" y="48020"/>
                    <a:pt x="228232" y="51001"/>
                  </a:cubicBezTo>
                  <a:cubicBezTo>
                    <a:pt x="236749" y="59517"/>
                    <a:pt x="241858" y="70588"/>
                    <a:pt x="242284" y="83362"/>
                  </a:cubicBezTo>
                  <a:cubicBezTo>
                    <a:pt x="257187" y="76549"/>
                    <a:pt x="285716" y="66330"/>
                    <a:pt x="309136" y="58239"/>
                  </a:cubicBezTo>
                  <a:close/>
                </a:path>
              </a:pathLst>
            </a:custGeom>
            <a:solidFill>
              <a:srgbClr val="E30034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" name="empower - DO NOT DELETE!!!" hidden="1"/>
          <p:cNvSpPr/>
          <p:nvPr userDrawn="1">
            <p:custDataLst>
              <p:tags r:id="rId28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087355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1200" kern="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1200" kern="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52" r:id="rId4"/>
    <p:sldLayoutId id="2147483729" r:id="rId5"/>
    <p:sldLayoutId id="2147483730" r:id="rId6"/>
    <p:sldLayoutId id="2147483741" r:id="rId7"/>
    <p:sldLayoutId id="2147483731" r:id="rId8"/>
    <p:sldLayoutId id="2147483747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54" r:id="rId18"/>
    <p:sldLayoutId id="2147483753" r:id="rId19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1800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›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450000" indent="-27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Verdana" panose="020B0604030504040204" pitchFamily="34" charset="0"/>
        <a:buChar char="–"/>
        <a:defRPr sz="2000">
          <a:solidFill>
            <a:schemeClr val="tx1"/>
          </a:solidFill>
          <a:latin typeface="+mn-lt"/>
          <a:cs typeface="+mn-cs"/>
        </a:defRPr>
      </a:lvl2pPr>
      <a:lvl3pPr marL="6300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800" baseline="0">
          <a:solidFill>
            <a:schemeClr val="tx1"/>
          </a:solidFill>
          <a:latin typeface="+mn-lt"/>
          <a:cs typeface="+mn-cs"/>
        </a:defRPr>
      </a:lvl3pPr>
      <a:lvl4pPr marL="802800" indent="-1728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600" baseline="0">
          <a:solidFill>
            <a:schemeClr val="tx1"/>
          </a:solidFill>
          <a:latin typeface="+mn-lt"/>
          <a:cs typeface="+mn-cs"/>
        </a:defRPr>
      </a:lvl4pPr>
      <a:lvl5pPr marL="9828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/>
          </a:solidFill>
          <a:latin typeface="+mn-lt"/>
          <a:cs typeface="+mn-cs"/>
        </a:defRPr>
      </a:lvl5pPr>
      <a:lvl6pPr marL="9828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–"/>
        <a:defRPr sz="1400" baseline="0">
          <a:solidFill>
            <a:schemeClr val="tx1"/>
          </a:solidFill>
          <a:latin typeface="+mn-lt"/>
          <a:cs typeface="+mn-cs"/>
        </a:defRPr>
      </a:lvl6pPr>
      <a:lvl7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7pPr>
      <a:lvl8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8pPr>
      <a:lvl9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9.xml"/><Relationship Id="rId4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.png"/><Relationship Id="rId5" Type="http://schemas.openxmlformats.org/officeDocument/2006/relationships/image" Target="../media/image8.jpg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0FB4B93-C8A3-4772-95CB-637AB21ECF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000" y="4786239"/>
            <a:ext cx="10836000" cy="648000"/>
          </a:xfrm>
        </p:spPr>
        <p:txBody>
          <a:bodyPr/>
          <a:lstStyle/>
          <a:p>
            <a:r>
              <a:rPr lang="en-IN" b="1" dirty="0"/>
              <a:t>Intelligent Voice Control Wearable</a:t>
            </a:r>
            <a:endParaRPr lang="en-US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EDA6F03B-135E-4A07-9E16-F11132F741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N" dirty="0"/>
              <a:t>Shridatha Mohan Hegde</a:t>
            </a:r>
          </a:p>
          <a:p>
            <a:r>
              <a:rPr lang="en-US" dirty="0"/>
              <a:t>June 2022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0D826E-CBF3-490E-A7D8-EB72596F7A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4153A3-C7D9-4997-9CFE-F43904C463B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A925C6C-614A-4D70-B313-7ADCEE25F184}" type="slidenum">
              <a:rPr lang="en-US" noProof="0"/>
              <a:pPr/>
              <a:t>1</a:t>
            </a:fld>
            <a:endParaRPr lang="en-US" noProof="0" dirty="0"/>
          </a:p>
        </p:txBody>
      </p:sp>
      <p:pic>
        <p:nvPicPr>
          <p:cNvPr id="70" name="Social networking technologies">
            <a:extLst>
              <a:ext uri="{FF2B5EF4-FFF2-40B4-BE49-F238E27FC236}">
                <a16:creationId xmlns:a16="http://schemas.microsoft.com/office/drawing/2014/main" id="{D82319FB-013B-4B16-9A99-226AC6A7475E}"/>
              </a:ext>
            </a:extLst>
          </p:cNvPr>
          <p:cNvPicPr>
            <a:picLocks noGrp="1" noChangeAspect="1"/>
          </p:cNvPicPr>
          <p:nvPr>
            <p:ph type="pic" sz="quarter" idx="14"/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58" b="21458"/>
          <a:stretch>
            <a:fillRect/>
          </a:stretch>
        </p:blipFill>
        <p:spPr>
          <a:xfrm>
            <a:off x="-1248816" y="0"/>
            <a:ext cx="14833648" cy="4762991"/>
          </a:xfrm>
        </p:spPr>
      </p:pic>
    </p:spTree>
    <p:extLst>
      <p:ext uri="{BB962C8B-B14F-4D97-AF65-F5344CB8AC3E}">
        <p14:creationId xmlns:p14="http://schemas.microsoft.com/office/powerpoint/2010/main" val="21927592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42BA6FF-4E32-4DF2-B798-A3ABD4A1DC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41" r="31662"/>
          <a:stretch/>
        </p:blipFill>
        <p:spPr>
          <a:xfrm>
            <a:off x="12583907" y="6730596"/>
            <a:ext cx="56617" cy="79081"/>
          </a:xfrm>
          <a:prstGeom prst="rect">
            <a:avLst/>
          </a:prstGeom>
        </p:spPr>
      </p:pic>
      <p:sp>
        <p:nvSpPr>
          <p:cNvPr id="66" name="Titel 2">
            <a:extLst>
              <a:ext uri="{FF2B5EF4-FFF2-40B4-BE49-F238E27FC236}">
                <a16:creationId xmlns:a16="http://schemas.microsoft.com/office/drawing/2014/main" id="{1898A904-47E6-4F39-86A1-CFF5C4146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5480" y="286106"/>
            <a:ext cx="7810618" cy="585000"/>
          </a:xfrm>
        </p:spPr>
        <p:txBody>
          <a:bodyPr/>
          <a:lstStyle/>
          <a:p>
            <a:r>
              <a:rPr lang="en-IN" sz="3200" dirty="0"/>
              <a:t>Intelligent Voice Control Wearable</a:t>
            </a:r>
          </a:p>
        </p:txBody>
      </p:sp>
      <p:sp>
        <p:nvSpPr>
          <p:cNvPr id="124" name="Textplatzhalter 17">
            <a:extLst>
              <a:ext uri="{FF2B5EF4-FFF2-40B4-BE49-F238E27FC236}">
                <a16:creationId xmlns:a16="http://schemas.microsoft.com/office/drawing/2014/main" id="{E8CF5F43-E43E-43E7-B59C-AA006456DA16}"/>
              </a:ext>
            </a:extLst>
          </p:cNvPr>
          <p:cNvSpPr txBox="1">
            <a:spLocks/>
          </p:cNvSpPr>
          <p:nvPr/>
        </p:nvSpPr>
        <p:spPr>
          <a:xfrm>
            <a:off x="6138286" y="1077692"/>
            <a:ext cx="5718752" cy="203318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 wrap="square" lIns="117000" tIns="78000" rIns="78000" bIns="78000" rtlCol="0" anchor="ctr"/>
          <a:lstStyle>
            <a:defPPr>
              <a:defRPr lang="en-US"/>
            </a:defPPr>
            <a:lvl1pPr eaLnBrk="0" hangingPunct="0">
              <a:defRPr sz="105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IN" sz="1600" dirty="0"/>
              <a:t> Block Diagram</a:t>
            </a:r>
          </a:p>
        </p:txBody>
      </p:sp>
      <p:sp>
        <p:nvSpPr>
          <p:cNvPr id="28" name="Textplatzhalter 17">
            <a:extLst>
              <a:ext uri="{FF2B5EF4-FFF2-40B4-BE49-F238E27FC236}">
                <a16:creationId xmlns:a16="http://schemas.microsoft.com/office/drawing/2014/main" id="{0031E720-0FE3-4F4A-9B2D-3BED8072491D}"/>
              </a:ext>
            </a:extLst>
          </p:cNvPr>
          <p:cNvSpPr txBox="1">
            <a:spLocks/>
          </p:cNvSpPr>
          <p:nvPr/>
        </p:nvSpPr>
        <p:spPr>
          <a:xfrm>
            <a:off x="334963" y="1077692"/>
            <a:ext cx="5761037" cy="203318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 wrap="square" lIns="117000" tIns="78000" rIns="78000" bIns="78000" rtlCol="0" anchor="ctr"/>
          <a:lstStyle>
            <a:defPPr>
              <a:defRPr lang="en-US"/>
            </a:defPPr>
            <a:lvl1pPr eaLnBrk="0" hangingPunct="0"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IN" dirty="0"/>
              <a:t>Solution Diagram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E3329AB-81EA-4C3E-8C1C-BF4C205FC36B}"/>
              </a:ext>
            </a:extLst>
          </p:cNvPr>
          <p:cNvSpPr txBox="1"/>
          <p:nvPr/>
        </p:nvSpPr>
        <p:spPr bwMode="auto">
          <a:xfrm>
            <a:off x="7633348" y="3343644"/>
            <a:ext cx="772321" cy="402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IN" sz="900" kern="0" dirty="0">
                <a:latin typeface="+mn-lt"/>
              </a:rPr>
              <a:t>USB  HID</a:t>
            </a:r>
          </a:p>
        </p:txBody>
      </p:sp>
      <p:pic>
        <p:nvPicPr>
          <p:cNvPr id="2052" name="Picture 4" descr="CY8CKIT-062S2-43012 PSoC 62S2 Wi-Fi BT Pioneer Kit Guide">
            <a:extLst>
              <a:ext uri="{FF2B5EF4-FFF2-40B4-BE49-F238E27FC236}">
                <a16:creationId xmlns:a16="http://schemas.microsoft.com/office/drawing/2014/main" id="{93994D86-3224-49ED-86E2-B4ED638032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7980451" y="3020969"/>
            <a:ext cx="1622322" cy="1127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E14D248-BD82-4AE7-BB7A-F196D392450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697" y="2279466"/>
            <a:ext cx="5435568" cy="2877726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3EDBECD5-6616-4767-B47F-333DC96E5839}"/>
              </a:ext>
            </a:extLst>
          </p:cNvPr>
          <p:cNvGrpSpPr/>
          <p:nvPr/>
        </p:nvGrpSpPr>
        <p:grpSpPr>
          <a:xfrm>
            <a:off x="7454701" y="2773701"/>
            <a:ext cx="4343531" cy="1622322"/>
            <a:chOff x="7462445" y="2037958"/>
            <a:chExt cx="4343531" cy="1622322"/>
          </a:xfrm>
        </p:grpSpPr>
        <p:cxnSp>
          <p:nvCxnSpPr>
            <p:cNvPr id="57" name="Straight Arrow Connector 56">
              <a:extLst>
                <a:ext uri="{FF2B5EF4-FFF2-40B4-BE49-F238E27FC236}">
                  <a16:creationId xmlns:a16="http://schemas.microsoft.com/office/drawing/2014/main" id="{961F6582-8055-4832-B917-17AA060DCEF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372742" y="2723423"/>
              <a:ext cx="966071" cy="7156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6D9F60D9-D1C0-4660-B186-DB4DDBEE4B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381803" y="2520381"/>
              <a:ext cx="994044" cy="1030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C417BDC2-2DE5-4C2D-B4A6-0E1D567BB0B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381803" y="3143113"/>
              <a:ext cx="996083" cy="0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81F6921F-E6A0-4429-93B9-C137172807E6}"/>
                </a:ext>
              </a:extLst>
            </p:cNvPr>
            <p:cNvSpPr txBox="1"/>
            <p:nvPr/>
          </p:nvSpPr>
          <p:spPr bwMode="auto">
            <a:xfrm>
              <a:off x="9509832" y="2319168"/>
              <a:ext cx="803848" cy="1833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noAutofit/>
            </a:bodyPr>
            <a:lstStyle/>
            <a:p>
              <a:pPr defTabSz="576000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</a:pPr>
              <a:r>
                <a:rPr lang="en-IN" sz="900" kern="0" dirty="0">
                  <a:latin typeface="+mn-lt"/>
                </a:rPr>
                <a:t>PDM CLK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BDD81B1B-578B-4013-BBAC-6F9EF12CEFAC}"/>
                </a:ext>
              </a:extLst>
            </p:cNvPr>
            <p:cNvSpPr txBox="1"/>
            <p:nvPr/>
          </p:nvSpPr>
          <p:spPr bwMode="auto">
            <a:xfrm>
              <a:off x="9509832" y="2563064"/>
              <a:ext cx="895576" cy="1642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noAutofit/>
            </a:bodyPr>
            <a:lstStyle/>
            <a:p>
              <a:pPr defTabSz="576000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</a:pPr>
              <a:r>
                <a:rPr lang="en-IN" sz="900" kern="0" dirty="0">
                  <a:latin typeface="+mn-lt"/>
                </a:rPr>
                <a:t>PDM DATA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77DE54A-3F68-43A5-AF0F-F39B0CF3E518}"/>
                </a:ext>
              </a:extLst>
            </p:cNvPr>
            <p:cNvSpPr txBox="1"/>
            <p:nvPr/>
          </p:nvSpPr>
          <p:spPr bwMode="auto">
            <a:xfrm>
              <a:off x="9647345" y="3210776"/>
              <a:ext cx="289055" cy="1434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noAutofit/>
            </a:bodyPr>
            <a:lstStyle/>
            <a:p>
              <a:pPr defTabSz="576000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</a:pPr>
              <a:r>
                <a:rPr lang="en-IN" sz="900" kern="0" dirty="0">
                  <a:latin typeface="+mn-lt"/>
                </a:rPr>
                <a:t>SPI</a:t>
              </a:r>
            </a:p>
          </p:txBody>
        </p: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A447A0BD-1617-4B49-A54E-0C715C436BF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62445" y="2937875"/>
              <a:ext cx="761644" cy="10298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54" name="Picture 6" descr="IoT Sense Expansion Kit (CY8CKIT-028-SENSE) - Cypress | Mouser">
              <a:extLst>
                <a:ext uri="{FF2B5EF4-FFF2-40B4-BE49-F238E27FC236}">
                  <a16:creationId xmlns:a16="http://schemas.microsoft.com/office/drawing/2014/main" id="{2333AE0E-5CE4-47C5-9680-CAB72672D7D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89" r="10424"/>
            <a:stretch/>
          </p:blipFill>
          <p:spPr bwMode="auto">
            <a:xfrm rot="10800000">
              <a:off x="10335864" y="2197163"/>
              <a:ext cx="1470112" cy="13507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4" descr="CY8CKIT-062S2-43012 PSoC 62S2 Wi-Fi BT Pioneer Kit Guide">
              <a:extLst>
                <a:ext uri="{FF2B5EF4-FFF2-40B4-BE49-F238E27FC236}">
                  <a16:creationId xmlns:a16="http://schemas.microsoft.com/office/drawing/2014/main" id="{CD5FF5BB-63B9-42C0-B7F0-8DDC4E58CA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7988196" y="2285226"/>
              <a:ext cx="1622322" cy="11277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44331473-0A64-4F35-AD56-4E018101E2A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9306" y="3015209"/>
            <a:ext cx="628973" cy="62897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6E3EAD0-9CBA-487A-A43E-7ECB1BE1D62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6" r="5719"/>
          <a:stretch/>
        </p:blipFill>
        <p:spPr>
          <a:xfrm>
            <a:off x="6226791" y="3074690"/>
            <a:ext cx="1221673" cy="10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632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42BA6FF-4E32-4DF2-B798-A3ABD4A1DC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41" r="31662"/>
          <a:stretch/>
        </p:blipFill>
        <p:spPr>
          <a:xfrm>
            <a:off x="12583907" y="6730596"/>
            <a:ext cx="56617" cy="79081"/>
          </a:xfrm>
          <a:prstGeom prst="rect">
            <a:avLst/>
          </a:prstGeom>
        </p:spPr>
      </p:pic>
      <p:sp>
        <p:nvSpPr>
          <p:cNvPr id="66" name="Titel 2">
            <a:extLst>
              <a:ext uri="{FF2B5EF4-FFF2-40B4-BE49-F238E27FC236}">
                <a16:creationId xmlns:a16="http://schemas.microsoft.com/office/drawing/2014/main" id="{1898A904-47E6-4F39-86A1-CFF5C4146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5480" y="286106"/>
            <a:ext cx="7810618" cy="585000"/>
          </a:xfrm>
        </p:spPr>
        <p:txBody>
          <a:bodyPr/>
          <a:lstStyle/>
          <a:p>
            <a:r>
              <a:rPr lang="en-IN" sz="3200" dirty="0"/>
              <a:t>Intelligent Voice Control Wearable</a:t>
            </a:r>
          </a:p>
        </p:txBody>
      </p:sp>
      <p:sp>
        <p:nvSpPr>
          <p:cNvPr id="28" name="Textplatzhalter 17">
            <a:extLst>
              <a:ext uri="{FF2B5EF4-FFF2-40B4-BE49-F238E27FC236}">
                <a16:creationId xmlns:a16="http://schemas.microsoft.com/office/drawing/2014/main" id="{0031E720-0FE3-4F4A-9B2D-3BED8072491D}"/>
              </a:ext>
            </a:extLst>
          </p:cNvPr>
          <p:cNvSpPr txBox="1">
            <a:spLocks/>
          </p:cNvSpPr>
          <p:nvPr/>
        </p:nvSpPr>
        <p:spPr>
          <a:xfrm>
            <a:off x="334963" y="1077692"/>
            <a:ext cx="11522075" cy="190721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 wrap="square" lIns="117000" tIns="78000" rIns="78000" bIns="78000" rtlCol="0" anchor="ctr"/>
          <a:lstStyle>
            <a:defPPr>
              <a:defRPr lang="en-US"/>
            </a:defPPr>
            <a:lvl1pPr eaLnBrk="0" hangingPunct="0"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IN" dirty="0"/>
              <a:t>Featur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6154DBB-234A-4E0E-9BB8-8B529670F938}"/>
              </a:ext>
            </a:extLst>
          </p:cNvPr>
          <p:cNvGrpSpPr/>
          <p:nvPr/>
        </p:nvGrpSpPr>
        <p:grpSpPr>
          <a:xfrm>
            <a:off x="3774607" y="3968365"/>
            <a:ext cx="4634040" cy="1270782"/>
            <a:chOff x="3774607" y="3968365"/>
            <a:chExt cx="4634040" cy="1270782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9C7A9F61-16C6-425E-9D41-E254ACA1CE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48843" y="3970387"/>
              <a:ext cx="1268760" cy="126876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48CE8A7-9327-4072-9727-5E58B373D4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48331" y="3969779"/>
              <a:ext cx="1260316" cy="1260316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6D232D5-B39D-42DE-8C49-D4C01F68812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4607" y="3968365"/>
              <a:ext cx="1268760" cy="1268760"/>
            </a:xfrm>
            <a:prstGeom prst="rect">
              <a:avLst/>
            </a:prstGeom>
          </p:spPr>
        </p:pic>
      </p:grpSp>
      <p:sp>
        <p:nvSpPr>
          <p:cNvPr id="31" name="Freeform 6">
            <a:extLst>
              <a:ext uri="{FF2B5EF4-FFF2-40B4-BE49-F238E27FC236}">
                <a16:creationId xmlns:a16="http://schemas.microsoft.com/office/drawing/2014/main" id="{354AC13B-25B1-48F1-B9EA-95DA30368E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962" y="1340768"/>
            <a:ext cx="11522075" cy="1260316"/>
          </a:xfrm>
          <a:custGeom>
            <a:avLst/>
            <a:gdLst>
              <a:gd name="connsiteX0" fmla="*/ 0 w 5509494"/>
              <a:gd name="connsiteY0" fmla="*/ 0 h 1780675"/>
              <a:gd name="connsiteX1" fmla="*/ 5509494 w 5509494"/>
              <a:gd name="connsiteY1" fmla="*/ 0 h 1780675"/>
              <a:gd name="connsiteX2" fmla="*/ 5509494 w 5509494"/>
              <a:gd name="connsiteY2" fmla="*/ 1780675 h 1780675"/>
              <a:gd name="connsiteX3" fmla="*/ 0 w 5509494"/>
              <a:gd name="connsiteY3" fmla="*/ 1780675 h 1780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09494" h="1780675">
                <a:moveTo>
                  <a:pt x="0" y="0"/>
                </a:moveTo>
                <a:lnTo>
                  <a:pt x="5509494" y="0"/>
                </a:lnTo>
                <a:lnTo>
                  <a:pt x="5509494" y="1780675"/>
                </a:lnTo>
                <a:lnTo>
                  <a:pt x="0" y="178067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lIns="117000" tIns="78000" rIns="0" bIns="78000" anchor="t" anchorCtr="0">
            <a:noAutofit/>
          </a:bodyPr>
          <a:lstStyle/>
          <a:p>
            <a:pPr marL="190893" indent="-190893">
              <a:buClr>
                <a:schemeClr val="accent1"/>
              </a:buClr>
              <a:buFont typeface="Arial" panose="020B0604020202020204" pitchFamily="34" charset="0"/>
              <a:buChar char="›"/>
            </a:pPr>
            <a:r>
              <a:rPr lang="en-IN" sz="2000" b="1" dirty="0">
                <a:solidFill>
                  <a:srgbClr val="000000"/>
                </a:solidFill>
                <a:latin typeface="Arial" panose="020B0604020202020204" pitchFamily="34" charset="0"/>
                <a:ea typeface="Helvetica Neue" charset="0"/>
                <a:cs typeface="Helvetica Neue" charset="0"/>
                <a:sym typeface="Helvetica Neue" charset="0"/>
              </a:rPr>
              <a:t>Natural Voice command detection using ML</a:t>
            </a:r>
          </a:p>
          <a:p>
            <a:pPr marL="190893" indent="-190893">
              <a:buClr>
                <a:schemeClr val="accent1"/>
              </a:buClr>
              <a:buFont typeface="Arial" panose="020B0604020202020204" pitchFamily="34" charset="0"/>
              <a:buChar char="›"/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ea typeface="Helvetica Neue" charset="0"/>
                <a:cs typeface="Helvetica Neue" charset="0"/>
                <a:sym typeface="Helvetica Neue" charset="0"/>
              </a:rPr>
              <a:t>Gesture control using motion sensor</a:t>
            </a:r>
          </a:p>
          <a:p>
            <a:pPr marL="190893" indent="-190893">
              <a:buClr>
                <a:schemeClr val="accent1"/>
              </a:buClr>
              <a:buFont typeface="Arial" panose="020B0604020202020204" pitchFamily="34" charset="0"/>
              <a:buChar char="›"/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ea typeface="Helvetica Neue" charset="0"/>
                <a:cs typeface="Helvetica Neue" charset="0"/>
                <a:sym typeface="Helvetica Neue" charset="0"/>
              </a:rPr>
              <a:t>Combined Voice and Gesture inputs used for UI control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D306C1-19EF-40B5-96EB-CC4D9A3E07BE}"/>
              </a:ext>
            </a:extLst>
          </p:cNvPr>
          <p:cNvGrpSpPr/>
          <p:nvPr/>
        </p:nvGrpSpPr>
        <p:grpSpPr>
          <a:xfrm>
            <a:off x="1893182" y="3876469"/>
            <a:ext cx="8656590" cy="1271246"/>
            <a:chOff x="1893182" y="3876469"/>
            <a:chExt cx="8656590" cy="1271246"/>
          </a:xfrm>
        </p:grpSpPr>
        <p:pic>
          <p:nvPicPr>
            <p:cNvPr id="33" name="Picture 2" descr="ModusToolbox machine learning enables TinyML for AIoT">
              <a:extLst>
                <a:ext uri="{FF2B5EF4-FFF2-40B4-BE49-F238E27FC236}">
                  <a16:creationId xmlns:a16="http://schemas.microsoft.com/office/drawing/2014/main" id="{D639C861-F33D-4E81-81CC-B7CB1D89798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586" b="20166"/>
            <a:stretch/>
          </p:blipFill>
          <p:spPr bwMode="auto">
            <a:xfrm>
              <a:off x="5419484" y="3876469"/>
              <a:ext cx="1948332" cy="12712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4" descr="SensiML | AI at the Edge and Beyond">
              <a:extLst>
                <a:ext uri="{FF2B5EF4-FFF2-40B4-BE49-F238E27FC236}">
                  <a16:creationId xmlns:a16="http://schemas.microsoft.com/office/drawing/2014/main" id="{886168F5-85E0-43ED-81ED-7E56463B40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56240" y="3876469"/>
              <a:ext cx="2293532" cy="12220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2" descr="End-to-End Edge Voice AI | Picovoice On-Device Voice Recognition">
              <a:extLst>
                <a:ext uri="{FF2B5EF4-FFF2-40B4-BE49-F238E27FC236}">
                  <a16:creationId xmlns:a16="http://schemas.microsoft.com/office/drawing/2014/main" id="{862DD87B-1D58-444D-8BCF-C9CE68FD93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3182" y="4210287"/>
              <a:ext cx="2770353" cy="7621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47593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DDFB82-8D63-4FC4-B4C7-B3B0F45C3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ntelligent Voice Control Wearab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3BC787-2510-4156-9D25-9E4F7BE436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0A1FC8-0F02-4A4C-A706-B48DE27C49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711DDF-7FB2-4AE2-9A6C-77B1E5A4490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979" y="1700808"/>
            <a:ext cx="5545013" cy="3696675"/>
          </a:xfrm>
          <a:prstGeom prst="rect">
            <a:avLst/>
          </a:prstGeom>
        </p:spPr>
      </p:pic>
      <p:pic>
        <p:nvPicPr>
          <p:cNvPr id="2050" name="Picture 2" descr="Touchless Interactive Kiosk: Is It Hype Or Not? | Gesture Control Kiosks">
            <a:extLst>
              <a:ext uri="{FF2B5EF4-FFF2-40B4-BE49-F238E27FC236}">
                <a16:creationId xmlns:a16="http://schemas.microsoft.com/office/drawing/2014/main" id="{CAAD619A-D78C-431D-8D50-4369C821C8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43"/>
          <a:stretch/>
        </p:blipFill>
        <p:spPr bwMode="auto">
          <a:xfrm>
            <a:off x="6168010" y="1700808"/>
            <a:ext cx="5545011" cy="3690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526D83E1-CA4B-4F25-A321-F8EDEB508DE4}"/>
              </a:ext>
            </a:extLst>
          </p:cNvPr>
          <p:cNvSpPr txBox="1">
            <a:spLocks/>
          </p:cNvSpPr>
          <p:nvPr/>
        </p:nvSpPr>
        <p:spPr>
          <a:xfrm>
            <a:off x="334963" y="1077692"/>
            <a:ext cx="11522075" cy="190721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 wrap="square" lIns="117000" tIns="78000" rIns="78000" bIns="78000" rtlCol="0" anchor="ctr"/>
          <a:lstStyle>
            <a:defPPr>
              <a:defRPr lang="en-US"/>
            </a:defPPr>
            <a:lvl1pPr eaLnBrk="0" hangingPunct="0"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IN" dirty="0"/>
              <a:t>Potential Solutions</a:t>
            </a:r>
          </a:p>
        </p:txBody>
      </p:sp>
    </p:spTree>
    <p:extLst>
      <p:ext uri="{BB962C8B-B14F-4D97-AF65-F5344CB8AC3E}">
        <p14:creationId xmlns:p14="http://schemas.microsoft.com/office/powerpoint/2010/main" val="10287020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87355" y="6489341"/>
            <a:ext cx="384048" cy="361460"/>
          </a:xfrm>
        </p:spPr>
        <p:txBody>
          <a:bodyPr/>
          <a:lstStyle/>
          <a:p>
            <a:fld id="{BA925C6C-614A-4D70-B313-7ADCEE25F184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032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3be6314-e2de-42c1-ae1e-55e2bd940ff6"/>
  <p:tag name="MIO_GUID" val="9eb16850-3308-4a6a-ba83-520f43fa35b5"/>
  <p:tag name="MIO_UPDATE" val="True"/>
  <p:tag name="MIO_VERSION" val="06.04.2021 15:41:20"/>
  <p:tag name="MIO_DBID" val="FDE84254-54DB-49E3-9A0E-CDE72035D530"/>
  <p:tag name="MIO_LASTDOWNLOADED" val="25.03.2022 10:12:34.447"/>
  <p:tag name="MIO_OBJECTNAME" val="Social networking technologies"/>
  <p:tag name="MIO_LASTEDITORNAME" val="Miguel Madeyski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5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19"/>
  <p:tag name="MIO_HDS" val="True"/>
  <p:tag name="MIO_SKIPVERSION" val="01.01.0001 00:00:00"/>
  <p:tag name="MIO_EKGUID" val="8065601e-5703-48da-bebd-d15d5a0b2647"/>
  <p:tag name="MIO_UPDATE" val="True"/>
  <p:tag name="MIO_VERSION" val="19.06.2021 06:46:20"/>
  <p:tag name="MIO_DBID" val="FDE84254-54DB-49E3-9A0E-CDE72035D530"/>
  <p:tag name="MIO_LASTDOWNLOADED" val="11.02.2022 14:14:07.881"/>
  <p:tag name="MIO_OBJECTNAME" val="Infineon LCD 16:9"/>
  <p:tag name="MIO_CDID" val="906d5752-464b-466e-b4dc-f788d8f8048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- new SU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F07F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eaLnBrk="0" hangingPunct="0">
          <a:defRPr sz="1600" baseline="0" dirty="0">
            <a:latin typeface="+mn-lt"/>
            <a:ea typeface="+mn-ea"/>
            <a:cs typeface="+mn-cs"/>
          </a:defRPr>
        </a:defPPr>
      </a:lst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ctr" anchorCtr="0">
        <a:noAutofit/>
      </a:bodyPr>
      <a:lstStyle>
        <a:defPPr marL="180000" marR="0" indent="-180000" algn="l" defTabSz="576000" eaLnBrk="0" fontAlgn="auto" latinLnBrk="0" hangingPunct="0">
          <a:spcBef>
            <a:spcPts val="0"/>
          </a:spcBef>
          <a:spcAft>
            <a:spcPts val="0"/>
          </a:spcAft>
          <a:buClr>
            <a:schemeClr val="accent1"/>
          </a:buClr>
          <a:buSzTx/>
          <a:buFont typeface="Arial" panose="020B0604020202020204" pitchFamily="34" charset="0"/>
          <a:buChar char="›"/>
          <a:tabLst/>
          <a:defRPr sz="14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" id="{5E2DF0C1-748E-453E-B2BC-E5B83457B75E}" vid="{7EAB4795-DBEE-4C4C-99AB-3BC79E182D1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4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Props1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99A1D5-F553-4264-9022-E0136C61CE27}">
  <ds:schemaRefs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6ef45842-284e-44e4-b2db-1749e7948b44"/>
    <ds:schemaRef ds:uri="a709603d-609a-478b-a91d-3c5e984c0e79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090</TotalTime>
  <Words>129</Words>
  <Application>Microsoft Office PowerPoint</Application>
  <PresentationFormat>Widescreen</PresentationFormat>
  <Paragraphs>40</Paragraphs>
  <Slides>5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Arial Unicode MS</vt:lpstr>
      <vt:lpstr>Helvetica Neue</vt:lpstr>
      <vt:lpstr>Verdana</vt:lpstr>
      <vt:lpstr>Infineon 16:9</vt:lpstr>
      <vt:lpstr>Intelligent Voice Control Wearable</vt:lpstr>
      <vt:lpstr>Intelligent Voice Control Wearable</vt:lpstr>
      <vt:lpstr>Intelligent Voice Control Wearable</vt:lpstr>
      <vt:lpstr>Intelligent Voice Control Wearabl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lligent Voice Control Wearable (Hobby)</dc:title>
  <dc:creator>Hegde Shridatha Mohan (CSTIPL CSS ICW APP SOL)</dc:creator>
  <cp:lastModifiedBy>Hegde Shridatha Mohan (CSTIPL CSS ICW APP SOL)</cp:lastModifiedBy>
  <cp:revision>29</cp:revision>
  <dcterms:created xsi:type="dcterms:W3CDTF">2022-05-09T04:41:33Z</dcterms:created>
  <dcterms:modified xsi:type="dcterms:W3CDTF">2022-05-29T14:14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1-02-08T06:22:02Z</vt:filetime>
  </property>
  <property fmtid="{D5CDD505-2E9C-101B-9397-08002B2CF9AE}" pid="15" name="empower.integration.Classification.DateFormat">
    <vt:lpwstr>yyyy-MM-dd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</Properties>
</file>